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256" r:id="rId5"/>
    <p:sldId id="359" r:id="rId6"/>
    <p:sldId id="363" r:id="rId7"/>
    <p:sldId id="358" r:id="rId8"/>
    <p:sldId id="365" r:id="rId9"/>
    <p:sldId id="357" r:id="rId10"/>
    <p:sldId id="364" r:id="rId11"/>
    <p:sldId id="362" r:id="rId12"/>
    <p:sldId id="361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35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7" algn="l" defTabSz="91435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6" algn="l" defTabSz="91435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14" algn="l" defTabSz="91435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92" algn="l" defTabSz="91435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70" algn="l" defTabSz="91435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9" algn="l" defTabSz="91435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28" algn="l" defTabSz="91435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101"/>
    <a:srgbClr val="D3A63C"/>
    <a:srgbClr val="15163A"/>
    <a:srgbClr val="F3D713"/>
    <a:srgbClr val="E7C620"/>
    <a:srgbClr val="E2BC23"/>
    <a:srgbClr val="E9EFFB"/>
    <a:srgbClr val="D1A33C"/>
    <a:srgbClr val="F2F2F2"/>
    <a:srgbClr val="F7C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9FE806-C88F-4D8D-BBC9-5FEC54EB2A37}" v="10533" dt="2023-08-13T17:10:32.501"/>
    <p1510:client id="{A670502B-75E7-4572-939A-8184B0C5F441}" v="3857" dt="2023-08-13T14:55:33.616"/>
    <p1510:client id="{E0543FC4-8781-4DAF-8447-25E6AC7C9972}" v="2421" dt="2023-08-13T17:13:04.720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43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E$2</c:f>
              <c:strCache>
                <c:ptCount val="1"/>
                <c:pt idx="0">
                  <c:v>percentage</c:v>
                </c:pt>
              </c:strCache>
            </c:strRef>
          </c:tx>
          <c:spPr>
            <a:ln w="3810"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rgbClr val="A68406">
                  <a:alpha val="69804"/>
                </a:srgbClr>
              </a:solidFill>
              <a:ln w="3810">
                <a:solidFill>
                  <a:schemeClr val="tx1"/>
                </a:solidFill>
              </a:ln>
              <a:effectLst>
                <a:glow>
                  <a:schemeClr val="accent1">
                    <a:alpha val="45000"/>
                  </a:schemeClr>
                </a:glow>
                <a:softEdge rad="0"/>
              </a:effectLst>
            </c:spPr>
            <c:extLst>
              <c:ext xmlns:c16="http://schemas.microsoft.com/office/drawing/2014/chart" uri="{C3380CC4-5D6E-409C-BE32-E72D297353CC}">
                <c16:uniqueId val="{00000001-D230-4E0D-B1A6-03E77519612D}"/>
              </c:ext>
            </c:extLst>
          </c:dPt>
          <c:dPt>
            <c:idx val="1"/>
            <c:bubble3D val="0"/>
            <c:spPr>
              <a:solidFill>
                <a:srgbClr val="EEB500">
                  <a:alpha val="69804"/>
                </a:srgbClr>
              </a:solidFill>
              <a:ln w="381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230-4E0D-B1A6-03E77519612D}"/>
              </c:ext>
            </c:extLst>
          </c:dPt>
          <c:dPt>
            <c:idx val="2"/>
            <c:bubble3D val="0"/>
            <c:spPr>
              <a:solidFill>
                <a:schemeClr val="accent4">
                  <a:shade val="76000"/>
                  <a:alpha val="70000"/>
                </a:schemeClr>
              </a:solidFill>
              <a:ln w="381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230-4E0D-B1A6-03E77519612D}"/>
              </c:ext>
            </c:extLst>
          </c:dPt>
          <c:dPt>
            <c:idx val="3"/>
            <c:bubble3D val="0"/>
            <c:spPr>
              <a:solidFill>
                <a:schemeClr val="accent4">
                  <a:shade val="92000"/>
                  <a:alpha val="70000"/>
                </a:schemeClr>
              </a:solidFill>
              <a:ln w="381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230-4E0D-B1A6-03E77519612D}"/>
              </c:ext>
            </c:extLst>
          </c:dPt>
          <c:dPt>
            <c:idx val="4"/>
            <c:bubble3D val="0"/>
            <c:spPr>
              <a:solidFill>
                <a:srgbClr val="FFB625">
                  <a:alpha val="69804"/>
                </a:srgbClr>
              </a:solidFill>
              <a:ln w="381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230-4E0D-B1A6-03E77519612D}"/>
              </c:ext>
            </c:extLst>
          </c:dPt>
          <c:dPt>
            <c:idx val="5"/>
            <c:bubble3D val="0"/>
            <c:spPr>
              <a:solidFill>
                <a:srgbClr val="D7B00B">
                  <a:alpha val="69804"/>
                </a:srgbClr>
              </a:solidFill>
              <a:ln w="381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230-4E0D-B1A6-03E77519612D}"/>
              </c:ext>
            </c:extLst>
          </c:dPt>
          <c:dPt>
            <c:idx val="6"/>
            <c:bubble3D val="0"/>
            <c:spPr>
              <a:solidFill>
                <a:srgbClr val="F79C37">
                  <a:alpha val="69804"/>
                </a:srgbClr>
              </a:solidFill>
              <a:ln w="381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230-4E0D-B1A6-03E77519612D}"/>
              </c:ext>
            </c:extLst>
          </c:dPt>
          <c:dPt>
            <c:idx val="7"/>
            <c:bubble3D val="0"/>
            <c:spPr>
              <a:solidFill>
                <a:srgbClr val="CC6600">
                  <a:alpha val="69804"/>
                </a:srgbClr>
              </a:solidFill>
              <a:ln w="381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230-4E0D-B1A6-03E77519612D}"/>
              </c:ext>
            </c:extLst>
          </c:dPt>
          <c:dLbls>
            <c:dLbl>
              <c:idx val="0"/>
              <c:layout>
                <c:manualLayout>
                  <c:x val="0.13732957633285026"/>
                  <c:y val="-5.6642120604146022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700"/>
                      <a:t>apple-cinnamon</a:t>
                    </a:r>
                    <a:r>
                      <a:rPr lang="en-US" sz="700" baseline="0"/>
                      <a:t>
22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4">
                      <a:shade val="45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4">
                      <a:shade val="45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230-4E0D-B1A6-03E77519612D}"/>
                </c:ext>
              </c:extLst>
            </c:dLbl>
            <c:dLbl>
              <c:idx val="1"/>
              <c:layout>
                <c:manualLayout>
                  <c:x val="0.14364946695081166"/>
                  <c:y val="-2.6178920646411918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700"/>
                      <a:t>cherry</a:t>
                    </a:r>
                    <a:r>
                      <a:rPr lang="en-US" sz="700" baseline="0"/>
                      <a:t>
20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4">
                      <a:shade val="61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4">
                      <a:shade val="61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230-4E0D-B1A6-03E77519612D}"/>
                </c:ext>
              </c:extLst>
            </c:dLbl>
            <c:dLbl>
              <c:idx val="2"/>
              <c:layout>
                <c:manualLayout>
                  <c:x val="5.9566862993789681E-2"/>
                  <c:y val="0.18032364141842658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700"/>
                      <a:t>kokum</a:t>
                    </a:r>
                    <a:r>
                      <a:rPr lang="en-US" sz="700" baseline="0"/>
                      <a:t>
15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4">
                      <a:shade val="76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4">
                      <a:shade val="76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230-4E0D-B1A6-03E77519612D}"/>
                </c:ext>
              </c:extLst>
            </c:dLbl>
            <c:dLbl>
              <c:idx val="3"/>
              <c:layout>
                <c:manualLayout>
                  <c:x val="-4.640058182634639E-2"/>
                  <c:y val="0.18455439939634458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700"/>
                      <a:t>jamun</a:t>
                    </a:r>
                    <a:r>
                      <a:rPr lang="en-US" sz="700" baseline="0"/>
                      <a:t>
2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4">
                      <a:shade val="92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4">
                      <a:shade val="92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230-4E0D-B1A6-03E77519612D}"/>
                </c:ext>
              </c:extLst>
            </c:dLbl>
            <c:dLbl>
              <c:idx val="4"/>
              <c:layout>
                <c:manualLayout>
                  <c:x val="-9.926874975420856E-2"/>
                  <c:y val="0.16451034997989403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700"/>
                      <a:t>mango</a:t>
                    </a:r>
                    <a:r>
                      <a:rPr lang="en-US" sz="700" baseline="0"/>
                      <a:t>
4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4">
                      <a:tint val="93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4">
                      <a:tint val="93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D230-4E0D-B1A6-03E77519612D}"/>
                </c:ext>
              </c:extLst>
            </c:dLbl>
            <c:dLbl>
              <c:idx val="5"/>
              <c:layout>
                <c:manualLayout>
                  <c:x val="-9.0460795586546447E-2"/>
                  <c:y val="0.10306365936750916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700"/>
                      <a:t>chilli</a:t>
                    </a:r>
                    <a:r>
                      <a:rPr lang="en-US" sz="700" baseline="0"/>
                      <a:t>
6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4">
                      <a:tint val="77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4">
                      <a:tint val="77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D230-4E0D-B1A6-03E77519612D}"/>
                </c:ext>
              </c:extLst>
            </c:dLbl>
            <c:dLbl>
              <c:idx val="6"/>
              <c:layout>
                <c:manualLayout>
                  <c:x val="-9.7061433925444709E-2"/>
                  <c:y val="2.1602857156465243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700"/>
                      <a:t>tea</a:t>
                    </a:r>
                    <a:r>
                      <a:rPr lang="en-US" sz="700" baseline="0"/>
                      <a:t>
13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4">
                      <a:tint val="62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4">
                      <a:tint val="62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D230-4E0D-B1A6-03E77519612D}"/>
                </c:ext>
              </c:extLst>
            </c:dLbl>
            <c:dLbl>
              <c:idx val="7"/>
              <c:layout>
                <c:manualLayout>
                  <c:x val="-6.6139435626365067E-2"/>
                  <c:y val="-0.14885083006001856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700"/>
                      <a:t>coffee</a:t>
                    </a:r>
                    <a:r>
                      <a:rPr lang="en-US" sz="700" baseline="0"/>
                      <a:t>
18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4">
                      <a:tint val="46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4">
                      <a:tint val="46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D230-4E0D-B1A6-03E77519612D}"/>
                </c:ext>
              </c:extLst>
            </c:dLbl>
            <c:spPr>
              <a:solidFill>
                <a:sysClr val="window" lastClr="FFFFFF">
                  <a:alpha val="90000"/>
                </a:sysClr>
              </a:solidFill>
              <a:ln w="12700" cap="flat" cmpd="sng" algn="ctr">
                <a:solidFill>
                  <a:srgbClr val="FFC000"/>
                </a:solidFill>
                <a:round/>
              </a:ln>
              <a:effectLst>
                <a:outerShdw blurRad="50800" dist="38100" dir="2700000" algn="tl" rotWithShape="0">
                  <a:srgbClr val="FFC000">
                    <a:lumMod val="75000"/>
                    <a:alpha val="40000"/>
                  </a:srgbClr>
                </a:outerShdw>
              </a:effectLst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D$3:$D$10</c:f>
              <c:strCache>
                <c:ptCount val="8"/>
                <c:pt idx="0">
                  <c:v>apple-cinnamon</c:v>
                </c:pt>
                <c:pt idx="1">
                  <c:v>cherry</c:v>
                </c:pt>
                <c:pt idx="2">
                  <c:v>kokum</c:v>
                </c:pt>
                <c:pt idx="3">
                  <c:v>jamun</c:v>
                </c:pt>
                <c:pt idx="4">
                  <c:v>mango</c:v>
                </c:pt>
                <c:pt idx="5">
                  <c:v>chilli</c:v>
                </c:pt>
                <c:pt idx="6">
                  <c:v>tea</c:v>
                </c:pt>
                <c:pt idx="7">
                  <c:v>coffee</c:v>
                </c:pt>
              </c:strCache>
            </c:strRef>
          </c:cat>
          <c:val>
            <c:numRef>
              <c:f>Sheet1!$E$3:$E$10</c:f>
              <c:numCache>
                <c:formatCode>General</c:formatCode>
                <c:ptCount val="8"/>
                <c:pt idx="0">
                  <c:v>22</c:v>
                </c:pt>
                <c:pt idx="1">
                  <c:v>20</c:v>
                </c:pt>
                <c:pt idx="2">
                  <c:v>15</c:v>
                </c:pt>
                <c:pt idx="3">
                  <c:v>2</c:v>
                </c:pt>
                <c:pt idx="4">
                  <c:v>4</c:v>
                </c:pt>
                <c:pt idx="5">
                  <c:v>6</c:v>
                </c:pt>
                <c:pt idx="6">
                  <c:v>13</c:v>
                </c:pt>
                <c:pt idx="7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230-4E0D-B1A6-03E77519612D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  <c:holeSize val="2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6A9-4155-A821-0484270E50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6A9-4155-A821-0484270E506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26A9-4155-A821-0484270E506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26A9-4155-A821-0484270E506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26A9-4155-A821-0484270E506D}"/>
              </c:ext>
            </c:extLst>
          </c:dPt>
          <c:dLbls>
            <c:dLbl>
              <c:idx val="2"/>
              <c:layout>
                <c:manualLayout>
                  <c:x val="7.8913662054180475E-2"/>
                  <c:y val="0.1564169539370260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6A9-4155-A821-0484270E506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6A9-4155-A821-0484270E506D}"/>
                </c:ext>
              </c:extLst>
            </c:dLbl>
            <c:dLbl>
              <c:idx val="4"/>
              <c:layout>
                <c:manualLayout>
                  <c:x val="1.5019198741159869E-2"/>
                  <c:y val="0.1497242453081882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6A9-4155-A821-0484270E50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D$23:$D$27</c:f>
              <c:strCache>
                <c:ptCount val="5"/>
                <c:pt idx="0">
                  <c:v>food &amp; drink specialist</c:v>
                </c:pt>
                <c:pt idx="1">
                  <c:v>on-trade</c:v>
                </c:pt>
                <c:pt idx="2">
                  <c:v>hypermarket &amp; supermarket</c:v>
                </c:pt>
                <c:pt idx="3">
                  <c:v>departmental stores</c:v>
                </c:pt>
                <c:pt idx="4">
                  <c:v>other</c:v>
                </c:pt>
              </c:strCache>
            </c:strRef>
          </c:cat>
          <c:val>
            <c:numRef>
              <c:f>Sheet1!$E$23:$E$27</c:f>
              <c:numCache>
                <c:formatCode>General</c:formatCode>
                <c:ptCount val="5"/>
                <c:pt idx="0">
                  <c:v>65.3</c:v>
                </c:pt>
                <c:pt idx="1">
                  <c:v>18.7</c:v>
                </c:pt>
                <c:pt idx="2">
                  <c:v>14.8</c:v>
                </c:pt>
                <c:pt idx="3">
                  <c:v>0</c:v>
                </c:pt>
                <c:pt idx="4">
                  <c:v>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6A9-4155-A821-0484270E506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6193381919279504"/>
          <c:y val="8.600509825415914E-2"/>
          <c:w val="0.30836464838205818"/>
          <c:h val="0.82798913425380316"/>
        </c:manualLayout>
      </c:layout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19050" cap="flat" cmpd="sng" algn="ctr">
      <a:solidFill>
        <a:schemeClr val="tx2"/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Top</a:t>
            </a:r>
            <a:r>
              <a:rPr lang="en-US" b="1" baseline="0"/>
              <a:t> flavour preference by region</a:t>
            </a:r>
            <a:r>
              <a:rPr lang="en-US" b="1"/>
              <a:t> </a:t>
            </a:r>
          </a:p>
        </c:rich>
      </c:tx>
      <c:layout>
        <c:manualLayout>
          <c:xMode val="edge"/>
          <c:yMode val="edge"/>
          <c:x val="3.0516431924882512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PERCENTAGE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multiLvlStrRef>
              <c:f>Sheet1!$A$2:$B$9</c:f>
              <c:multiLvlStrCache>
                <c:ptCount val="8"/>
                <c:lvl>
                  <c:pt idx="0">
                    <c:v>ginger </c:v>
                  </c:pt>
                  <c:pt idx="1">
                    <c:v>mango</c:v>
                  </c:pt>
                  <c:pt idx="2">
                    <c:v>Coffee</c:v>
                  </c:pt>
                  <c:pt idx="3">
                    <c:v>Kokum</c:v>
                  </c:pt>
                  <c:pt idx="4">
                    <c:v>Tea</c:v>
                  </c:pt>
                  <c:pt idx="5">
                    <c:v>chilli </c:v>
                  </c:pt>
                  <c:pt idx="6">
                    <c:v>Coffee</c:v>
                  </c:pt>
                  <c:pt idx="7">
                    <c:v>Toasted Coconut</c:v>
                  </c:pt>
                </c:lvl>
                <c:lvl>
                  <c:pt idx="0">
                    <c:v>North </c:v>
                  </c:pt>
                  <c:pt idx="1">
                    <c:v>North </c:v>
                  </c:pt>
                  <c:pt idx="2">
                    <c:v>West</c:v>
                  </c:pt>
                  <c:pt idx="3">
                    <c:v>West</c:v>
                  </c:pt>
                  <c:pt idx="4">
                    <c:v>East</c:v>
                  </c:pt>
                  <c:pt idx="5">
                    <c:v>East</c:v>
                  </c:pt>
                  <c:pt idx="6">
                    <c:v>South </c:v>
                  </c:pt>
                  <c:pt idx="7">
                    <c:v>South </c:v>
                  </c:pt>
                </c:lvl>
              </c:multiLvlStrCache>
            </c:multiLvl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2.5</c:v>
                </c:pt>
                <c:pt idx="1">
                  <c:v>14.3</c:v>
                </c:pt>
                <c:pt idx="2">
                  <c:v>14.2</c:v>
                </c:pt>
                <c:pt idx="3" formatCode="0.0">
                  <c:v>24.5</c:v>
                </c:pt>
                <c:pt idx="4">
                  <c:v>21.6</c:v>
                </c:pt>
                <c:pt idx="5">
                  <c:v>13.9</c:v>
                </c:pt>
                <c:pt idx="6">
                  <c:v>23.5</c:v>
                </c:pt>
                <c:pt idx="7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81-4BED-88A4-6C681C4F18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81322032"/>
        <c:axId val="1164729920"/>
      </c:barChart>
      <c:catAx>
        <c:axId val="781322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4729920"/>
        <c:crosses val="autoZero"/>
        <c:auto val="1"/>
        <c:lblAlgn val="ctr"/>
        <c:lblOffset val="100"/>
        <c:noMultiLvlLbl val="0"/>
      </c:catAx>
      <c:valAx>
        <c:axId val="1164729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1322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9050">
      <a:solidFill>
        <a:srgbClr val="E2BC23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63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000" b="0" i="0" u="none" strike="noStrike" kern="1200" baseline="0">
      <a:effectLst/>
    </cs:defRPr>
    <cs:bodyPr rot="0" spcFirstLastPara="1" vertOverflow="clip" horzOverflow="clip" vert="horz" wrap="square" lIns="38100" tIns="19050" rIns="38100" bIns="19050" anchor="ctr" anchorCtr="1">
      <a:spAutoFit/>
    </cs:bodyPr>
  </cs:dataLabel>
  <cs:dataLabelCallout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000" b="0" i="0" u="none" strike="noStrike" kern="1200" baseline="0">
      <a:effectLst/>
    </cs:defRPr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tx1"/>
    </cs:fontRef>
    <cs:spPr>
      <a:solidFill>
        <a:schemeClr val="phClr">
          <a:alpha val="90000"/>
        </a:schemeClr>
      </a:solidFill>
      <a:ln w="19050">
        <a:solidFill>
          <a:schemeClr val="phClr">
            <a:lumMod val="75000"/>
          </a:schemeClr>
        </a:solidFill>
      </a:ln>
      <a:effectLst>
        <a:innerShdw blurRad="114300">
          <a:schemeClr val="phClr">
            <a:lumMod val="75000"/>
          </a:schemeClr>
        </a:innerShdw>
      </a:effectLst>
      <a:scene3d>
        <a:camera prst="orthographicFront"/>
        <a:lightRig rig="threePt" dir="t"/>
      </a:scene3d>
      <a:sp3d contourW="19050" prstMaterial="flat">
        <a:contourClr>
          <a:schemeClr val="accent4">
            <a:lumMod val="75000"/>
          </a:schemeClr>
        </a:contourClr>
      </a:sp3d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6A5C58-6F10-475B-AD20-F20F8A6A3F62}" type="doc">
      <dgm:prSet loTypeId="urn:microsoft.com/office/officeart/2005/8/layout/hChevron3" loCatId="process" qsTypeId="urn:microsoft.com/office/officeart/2005/8/quickstyle/simple2" qsCatId="simple" csTypeId="urn:microsoft.com/office/officeart/2005/8/colors/accent1_5" csCatId="accent1" phldr="1"/>
      <dgm:spPr/>
    </dgm:pt>
    <dgm:pt modelId="{BDDE903C-B0D3-41A4-A87C-AD5F93F85454}">
      <dgm:prSet phldrT="[Text]" custT="1"/>
      <dgm:spPr>
        <a:solidFill>
          <a:schemeClr val="tx1">
            <a:alpha val="90000"/>
          </a:schemeClr>
        </a:solidFill>
      </dgm:spPr>
      <dgm:t>
        <a:bodyPr/>
        <a:lstStyle/>
        <a:p>
          <a:r>
            <a:rPr lang="en-IN" sz="1200" b="0">
              <a:solidFill>
                <a:schemeClr val="bg1"/>
              </a:solidFill>
            </a:rPr>
            <a:t>Industry</a:t>
          </a:r>
          <a:r>
            <a:rPr lang="en-IN" sz="1100" b="1">
              <a:solidFill>
                <a:schemeClr val="accent5">
                  <a:lumMod val="75000"/>
                </a:schemeClr>
              </a:solidFill>
            </a:rPr>
            <a:t> </a:t>
          </a:r>
        </a:p>
      </dgm:t>
    </dgm:pt>
    <dgm:pt modelId="{33A3A7AC-3D1B-4568-9B85-4A696F516EA5}" type="parTrans" cxnId="{3046E599-A7A9-4BEE-8F91-B0EE665633C2}">
      <dgm:prSet/>
      <dgm:spPr/>
      <dgm:t>
        <a:bodyPr/>
        <a:lstStyle/>
        <a:p>
          <a:endParaRPr lang="en-IN"/>
        </a:p>
      </dgm:t>
    </dgm:pt>
    <dgm:pt modelId="{2C4F2221-9372-48F1-9363-74F911A90690}" type="sibTrans" cxnId="{3046E599-A7A9-4BEE-8F91-B0EE665633C2}">
      <dgm:prSet/>
      <dgm:spPr/>
      <dgm:t>
        <a:bodyPr/>
        <a:lstStyle/>
        <a:p>
          <a:endParaRPr lang="en-IN"/>
        </a:p>
      </dgm:t>
    </dgm:pt>
    <dgm:pt modelId="{5CD19421-3BF8-4BAA-BC94-C651140DB1CE}">
      <dgm:prSet phldrT="[Text]" custT="1"/>
      <dgm:spPr/>
      <dgm:t>
        <a:bodyPr/>
        <a:lstStyle/>
        <a:p>
          <a:pPr algn="ctr"/>
          <a:r>
            <a:rPr lang="en-IN" sz="1200" b="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>
              <a:solidFill>
                <a:schemeClr val="accent5">
                  <a:lumMod val="75000"/>
                </a:schemeClr>
              </a:solidFill>
            </a:rPr>
            <a:t>NE</a:t>
          </a:r>
        </a:p>
      </dgm:t>
    </dgm:pt>
    <dgm:pt modelId="{1ED880C6-5DD5-4474-83E0-93DD8D9FFA63}" type="parTrans" cxnId="{B63865E1-2D7C-4D52-9BF1-40BB4C0D744E}">
      <dgm:prSet/>
      <dgm:spPr/>
      <dgm:t>
        <a:bodyPr/>
        <a:lstStyle/>
        <a:p>
          <a:endParaRPr lang="en-IN"/>
        </a:p>
      </dgm:t>
    </dgm:pt>
    <dgm:pt modelId="{A73698A2-6489-4E7F-9E3B-AA019EF7D72F}" type="sibTrans" cxnId="{B63865E1-2D7C-4D52-9BF1-40BB4C0D744E}">
      <dgm:prSet/>
      <dgm:spPr/>
      <dgm:t>
        <a:bodyPr/>
        <a:lstStyle/>
        <a:p>
          <a:endParaRPr lang="en-IN"/>
        </a:p>
      </dgm:t>
    </dgm:pt>
    <dgm:pt modelId="{ABD25DA2-7FA7-4724-A504-89E4BF11CADF}">
      <dgm:prSet phldrT="[Text]"/>
      <dgm:spPr>
        <a:solidFill>
          <a:srgbClr val="F3D713">
            <a:alpha val="78571"/>
          </a:srgbClr>
        </a:solidFill>
      </dgm:spPr>
      <dgm:t>
        <a:bodyPr/>
        <a:lstStyle/>
        <a:p>
          <a:pPr algn="l"/>
          <a:r>
            <a:rPr lang="en-IN">
              <a:solidFill>
                <a:schemeClr val="tx1"/>
              </a:solidFill>
            </a:rPr>
            <a:t>    Our consumers</a:t>
          </a:r>
        </a:p>
      </dgm:t>
    </dgm:pt>
    <dgm:pt modelId="{A91EA40C-C480-47D7-9BC6-7FABC4BB598E}" type="parTrans" cxnId="{A78B4772-BF32-451C-86FF-1EE4BEA41C85}">
      <dgm:prSet/>
      <dgm:spPr/>
      <dgm:t>
        <a:bodyPr/>
        <a:lstStyle/>
        <a:p>
          <a:endParaRPr lang="en-IN"/>
        </a:p>
      </dgm:t>
    </dgm:pt>
    <dgm:pt modelId="{321C28C8-8E17-477E-A7DD-586E2DE77383}" type="sibTrans" cxnId="{A78B4772-BF32-451C-86FF-1EE4BEA41C85}">
      <dgm:prSet/>
      <dgm:spPr/>
      <dgm:t>
        <a:bodyPr/>
        <a:lstStyle/>
        <a:p>
          <a:endParaRPr lang="en-IN"/>
        </a:p>
      </dgm:t>
    </dgm:pt>
    <dgm:pt modelId="{E66FB40C-946E-4DCB-915F-6697C3C8FF34}">
      <dgm:prSet phldrT="[Text]" custT="1"/>
      <dgm:spPr/>
      <dgm:t>
        <a:bodyPr/>
        <a:lstStyle/>
        <a:p>
          <a:pPr algn="l"/>
          <a:r>
            <a:rPr lang="en-IN" sz="105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gm:t>
    </dgm:pt>
    <dgm:pt modelId="{4DB35684-870D-467A-9396-A57F8E6F4249}" type="parTrans" cxnId="{0E93FA1D-E703-434E-BBEA-BE46C14392AE}">
      <dgm:prSet/>
      <dgm:spPr/>
      <dgm:t>
        <a:bodyPr/>
        <a:lstStyle/>
        <a:p>
          <a:endParaRPr lang="en-IN"/>
        </a:p>
      </dgm:t>
    </dgm:pt>
    <dgm:pt modelId="{5A6D3F57-0368-43F5-BE3D-95AB59469597}" type="sibTrans" cxnId="{0E93FA1D-E703-434E-BBEA-BE46C14392AE}">
      <dgm:prSet/>
      <dgm:spPr/>
      <dgm:t>
        <a:bodyPr/>
        <a:lstStyle/>
        <a:p>
          <a:endParaRPr lang="en-IN"/>
        </a:p>
      </dgm:t>
    </dgm:pt>
    <dgm:pt modelId="{4FAD3F94-C053-427D-AFC5-C97919B6599A}">
      <dgm:prSet phldrT="[Text]"/>
      <dgm:spPr/>
      <dgm:t>
        <a:bodyPr/>
        <a:lstStyle/>
        <a:p>
          <a:r>
            <a:rPr lang="en-IN" b="0">
              <a:solidFill>
                <a:schemeClr val="accent5">
                  <a:lumMod val="75000"/>
                </a:schemeClr>
              </a:solidFill>
            </a:rPr>
            <a:t>ESG analysis</a:t>
          </a:r>
        </a:p>
      </dgm:t>
    </dgm:pt>
    <dgm:pt modelId="{56A4E656-2A52-4162-AB60-A2104CB8A6BC}" type="parTrans" cxnId="{34B7EBB2-4AED-459D-AA77-DF7CE66FA8C2}">
      <dgm:prSet/>
      <dgm:spPr/>
      <dgm:t>
        <a:bodyPr/>
        <a:lstStyle/>
        <a:p>
          <a:endParaRPr lang="en-IN"/>
        </a:p>
      </dgm:t>
    </dgm:pt>
    <dgm:pt modelId="{E801593A-5256-41D3-AEED-B93EFECA0175}" type="sibTrans" cxnId="{34B7EBB2-4AED-459D-AA77-DF7CE66FA8C2}">
      <dgm:prSet/>
      <dgm:spPr/>
      <dgm:t>
        <a:bodyPr/>
        <a:lstStyle/>
        <a:p>
          <a:endParaRPr lang="en-IN"/>
        </a:p>
      </dgm:t>
    </dgm:pt>
    <dgm:pt modelId="{87BDEA1D-635E-4ABC-8E3A-0B3D74138DD5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ere we play?</a:t>
          </a:r>
        </a:p>
      </dgm:t>
    </dgm:pt>
    <dgm:pt modelId="{CF4EA680-C79C-49B4-8F4E-3BA1C5CC6388}" type="parTrans" cxnId="{2D3F6FDF-FA60-4856-8071-C623D75ABF5B}">
      <dgm:prSet/>
      <dgm:spPr/>
      <dgm:t>
        <a:bodyPr/>
        <a:lstStyle/>
        <a:p>
          <a:endParaRPr lang="en-IN"/>
        </a:p>
      </dgm:t>
    </dgm:pt>
    <dgm:pt modelId="{6CD717ED-2194-4412-9C4E-646D516950EB}" type="sibTrans" cxnId="{2D3F6FDF-FA60-4856-8071-C623D75ABF5B}">
      <dgm:prSet/>
      <dgm:spPr/>
      <dgm:t>
        <a:bodyPr/>
        <a:lstStyle/>
        <a:p>
          <a:endParaRPr lang="en-IN"/>
        </a:p>
      </dgm:t>
    </dgm:pt>
    <dgm:pt modelId="{788D83F9-12F3-435F-9AC6-CADDCF0D9496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Financials</a:t>
          </a:r>
        </a:p>
      </dgm:t>
    </dgm:pt>
    <dgm:pt modelId="{EE1B5DBC-5FE9-4DFF-B69C-291BDBC58863}" type="parTrans" cxnId="{51CC0CAE-B2F6-49EF-8872-7E2C3AD965A9}">
      <dgm:prSet/>
      <dgm:spPr/>
      <dgm:t>
        <a:bodyPr/>
        <a:lstStyle/>
        <a:p>
          <a:endParaRPr lang="en-IN"/>
        </a:p>
      </dgm:t>
    </dgm:pt>
    <dgm:pt modelId="{E591EBE1-D62A-47C6-93E4-B3DF6BD92EF7}" type="sibTrans" cxnId="{51CC0CAE-B2F6-49EF-8872-7E2C3AD965A9}">
      <dgm:prSet/>
      <dgm:spPr/>
      <dgm:t>
        <a:bodyPr/>
        <a:lstStyle/>
        <a:p>
          <a:endParaRPr lang="en-IN"/>
        </a:p>
      </dgm:t>
    </dgm:pt>
    <dgm:pt modelId="{4BA06883-3EC1-44F1-8DA0-4A8D3906C15E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>
            <a:solidFill>
              <a:schemeClr val="accent5">
                <a:lumMod val="75000"/>
              </a:schemeClr>
            </a:solidFill>
          </a:endParaRPr>
        </a:p>
      </dgm:t>
    </dgm:pt>
    <dgm:pt modelId="{8A03BCEF-CFDD-41B5-BD32-5F52660B9F92}" type="parTrans" cxnId="{E604E3C4-F233-406A-BA3E-9FFADC9701F4}">
      <dgm:prSet/>
      <dgm:spPr/>
      <dgm:t>
        <a:bodyPr/>
        <a:lstStyle/>
        <a:p>
          <a:endParaRPr lang="en-IN"/>
        </a:p>
      </dgm:t>
    </dgm:pt>
    <dgm:pt modelId="{5A604114-08B4-4C56-8FD6-52638E847EE8}" type="sibTrans" cxnId="{E604E3C4-F233-406A-BA3E-9FFADC9701F4}">
      <dgm:prSet/>
      <dgm:spPr/>
      <dgm:t>
        <a:bodyPr/>
        <a:lstStyle/>
        <a:p>
          <a:endParaRPr lang="en-IN"/>
        </a:p>
      </dgm:t>
    </dgm:pt>
    <dgm:pt modelId="{EC90D3A8-6A0E-469F-9237-35315AD1A0D1}" type="pres">
      <dgm:prSet presAssocID="{016A5C58-6F10-475B-AD20-F20F8A6A3F62}" presName="Name0" presStyleCnt="0">
        <dgm:presLayoutVars>
          <dgm:dir/>
          <dgm:resizeHandles val="exact"/>
        </dgm:presLayoutVars>
      </dgm:prSet>
      <dgm:spPr/>
    </dgm:pt>
    <dgm:pt modelId="{8CB61470-A8BE-45AF-B568-030F78BD9C71}" type="pres">
      <dgm:prSet presAssocID="{BDDE903C-B0D3-41A4-A87C-AD5F93F85454}" presName="parTxOnly" presStyleLbl="node1" presStyleIdx="0" presStyleCnt="8" custLinFactNeighborX="-425" custLinFactNeighborY="-64414">
        <dgm:presLayoutVars>
          <dgm:bulletEnabled val="1"/>
        </dgm:presLayoutVars>
      </dgm:prSet>
      <dgm:spPr/>
    </dgm:pt>
    <dgm:pt modelId="{A5C2DB88-C06F-4A1F-A102-C29FFAFE029B}" type="pres">
      <dgm:prSet presAssocID="{2C4F2221-9372-48F1-9363-74F911A90690}" presName="parSpace" presStyleCnt="0"/>
      <dgm:spPr/>
    </dgm:pt>
    <dgm:pt modelId="{87AFEA20-F8EC-44D9-AFC9-9CEEB1C8F633}" type="pres">
      <dgm:prSet presAssocID="{5CD19421-3BF8-4BAA-BC94-C651140DB1CE}" presName="parTxOnly" presStyleLbl="node1" presStyleIdx="1" presStyleCnt="8">
        <dgm:presLayoutVars>
          <dgm:bulletEnabled val="1"/>
        </dgm:presLayoutVars>
      </dgm:prSet>
      <dgm:spPr/>
    </dgm:pt>
    <dgm:pt modelId="{0006E6F9-1FC9-43C4-A4BF-9C588E7EC57C}" type="pres">
      <dgm:prSet presAssocID="{A73698A2-6489-4E7F-9E3B-AA019EF7D72F}" presName="parSpace" presStyleCnt="0"/>
      <dgm:spPr/>
    </dgm:pt>
    <dgm:pt modelId="{FEDD17B4-F6C8-4605-BC6B-8DAB5C1B20C6}" type="pres">
      <dgm:prSet presAssocID="{ABD25DA2-7FA7-4724-A504-89E4BF11CADF}" presName="parTxOnly" presStyleLbl="node1" presStyleIdx="2" presStyleCnt="8" custLinFactNeighborY="-8">
        <dgm:presLayoutVars>
          <dgm:bulletEnabled val="1"/>
        </dgm:presLayoutVars>
      </dgm:prSet>
      <dgm:spPr/>
    </dgm:pt>
    <dgm:pt modelId="{9F5D31C2-FEE4-48A5-89C2-6904259DD5CF}" type="pres">
      <dgm:prSet presAssocID="{321C28C8-8E17-477E-A7DD-586E2DE77383}" presName="parSpace" presStyleCnt="0"/>
      <dgm:spPr/>
    </dgm:pt>
    <dgm:pt modelId="{269FDA00-C630-4A00-98B1-AD0A61EE7CEA}" type="pres">
      <dgm:prSet presAssocID="{E66FB40C-946E-4DCB-915F-6697C3C8FF34}" presName="parTxOnly" presStyleLbl="node1" presStyleIdx="3" presStyleCnt="8" custLinFactNeighborY="-6340">
        <dgm:presLayoutVars>
          <dgm:bulletEnabled val="1"/>
        </dgm:presLayoutVars>
      </dgm:prSet>
      <dgm:spPr/>
    </dgm:pt>
    <dgm:pt modelId="{51E7065D-EDA9-4A37-98C0-9533A086547F}" type="pres">
      <dgm:prSet presAssocID="{5A6D3F57-0368-43F5-BE3D-95AB59469597}" presName="parSpace" presStyleCnt="0"/>
      <dgm:spPr/>
    </dgm:pt>
    <dgm:pt modelId="{9E204D48-F193-46A4-9491-0A9034F5A787}" type="pres">
      <dgm:prSet presAssocID="{4FAD3F94-C053-427D-AFC5-C97919B6599A}" presName="parTxOnly" presStyleLbl="node1" presStyleIdx="4" presStyleCnt="8" custLinFactNeighborY="-6340">
        <dgm:presLayoutVars>
          <dgm:bulletEnabled val="1"/>
        </dgm:presLayoutVars>
      </dgm:prSet>
      <dgm:spPr/>
    </dgm:pt>
    <dgm:pt modelId="{A6CC8A81-CFA3-4CB8-B2C5-18F47C83C96E}" type="pres">
      <dgm:prSet presAssocID="{E801593A-5256-41D3-AEED-B93EFECA0175}" presName="parSpace" presStyleCnt="0"/>
      <dgm:spPr/>
    </dgm:pt>
    <dgm:pt modelId="{8716042C-279E-445F-9D73-431CE59149B3}" type="pres">
      <dgm:prSet presAssocID="{87BDEA1D-635E-4ABC-8E3A-0B3D74138DD5}" presName="parTxOnly" presStyleLbl="node1" presStyleIdx="5" presStyleCnt="8" custLinFactNeighborY="-6340">
        <dgm:presLayoutVars>
          <dgm:bulletEnabled val="1"/>
        </dgm:presLayoutVars>
      </dgm:prSet>
      <dgm:spPr/>
    </dgm:pt>
    <dgm:pt modelId="{B2738546-915D-49F7-A04E-4FD2662DE796}" type="pres">
      <dgm:prSet presAssocID="{6CD717ED-2194-4412-9C4E-646D516950EB}" presName="parSpace" presStyleCnt="0"/>
      <dgm:spPr/>
    </dgm:pt>
    <dgm:pt modelId="{0116E7F4-F10C-4A6D-A83C-A0747C4128E4}" type="pres">
      <dgm:prSet presAssocID="{788D83F9-12F3-435F-9AC6-CADDCF0D9496}" presName="parTxOnly" presStyleLbl="node1" presStyleIdx="6" presStyleCnt="8" custLinFactNeighborY="-6340">
        <dgm:presLayoutVars>
          <dgm:bulletEnabled val="1"/>
        </dgm:presLayoutVars>
      </dgm:prSet>
      <dgm:spPr/>
    </dgm:pt>
    <dgm:pt modelId="{075135B9-E0A6-4138-8979-D30464809E14}" type="pres">
      <dgm:prSet presAssocID="{E591EBE1-D62A-47C6-93E4-B3DF6BD92EF7}" presName="parSpace" presStyleCnt="0"/>
      <dgm:spPr/>
    </dgm:pt>
    <dgm:pt modelId="{4109E786-07E0-4C8D-88A0-15EAC9F813E3}" type="pres">
      <dgm:prSet presAssocID="{4BA06883-3EC1-44F1-8DA0-4A8D3906C15E}" presName="parTxOnly" presStyleLbl="node1" presStyleIdx="7" presStyleCnt="8" custLinFactNeighborY="-6340">
        <dgm:presLayoutVars>
          <dgm:bulletEnabled val="1"/>
        </dgm:presLayoutVars>
      </dgm:prSet>
      <dgm:spPr/>
    </dgm:pt>
  </dgm:ptLst>
  <dgm:cxnLst>
    <dgm:cxn modelId="{6FF6D300-C380-4822-9CC5-679ACC00AC3D}" type="presOf" srcId="{4FAD3F94-C053-427D-AFC5-C97919B6599A}" destId="{9E204D48-F193-46A4-9491-0A9034F5A787}" srcOrd="0" destOrd="0" presId="urn:microsoft.com/office/officeart/2005/8/layout/hChevron3"/>
    <dgm:cxn modelId="{0E93FA1D-E703-434E-BBEA-BE46C14392AE}" srcId="{016A5C58-6F10-475B-AD20-F20F8A6A3F62}" destId="{E66FB40C-946E-4DCB-915F-6697C3C8FF34}" srcOrd="3" destOrd="0" parTransId="{4DB35684-870D-467A-9396-A57F8E6F4249}" sibTransId="{5A6D3F57-0368-43F5-BE3D-95AB59469597}"/>
    <dgm:cxn modelId="{9079713E-2FFD-4047-B708-73B15F42C2E0}" type="presOf" srcId="{4BA06883-3EC1-44F1-8DA0-4A8D3906C15E}" destId="{4109E786-07E0-4C8D-88A0-15EAC9F813E3}" srcOrd="0" destOrd="0" presId="urn:microsoft.com/office/officeart/2005/8/layout/hChevron3"/>
    <dgm:cxn modelId="{A78B4772-BF32-451C-86FF-1EE4BEA41C85}" srcId="{016A5C58-6F10-475B-AD20-F20F8A6A3F62}" destId="{ABD25DA2-7FA7-4724-A504-89E4BF11CADF}" srcOrd="2" destOrd="0" parTransId="{A91EA40C-C480-47D7-9BC6-7FABC4BB598E}" sibTransId="{321C28C8-8E17-477E-A7DD-586E2DE77383}"/>
    <dgm:cxn modelId="{3046E599-A7A9-4BEE-8F91-B0EE665633C2}" srcId="{016A5C58-6F10-475B-AD20-F20F8A6A3F62}" destId="{BDDE903C-B0D3-41A4-A87C-AD5F93F85454}" srcOrd="0" destOrd="0" parTransId="{33A3A7AC-3D1B-4568-9B85-4A696F516EA5}" sibTransId="{2C4F2221-9372-48F1-9363-74F911A90690}"/>
    <dgm:cxn modelId="{8529EE9F-873B-4947-BD5F-D278094DB1ED}" type="presOf" srcId="{5CD19421-3BF8-4BAA-BC94-C651140DB1CE}" destId="{87AFEA20-F8EC-44D9-AFC9-9CEEB1C8F633}" srcOrd="0" destOrd="0" presId="urn:microsoft.com/office/officeart/2005/8/layout/hChevron3"/>
    <dgm:cxn modelId="{AC87D3A2-9CCF-4958-9A3E-6FE252882F89}" type="presOf" srcId="{87BDEA1D-635E-4ABC-8E3A-0B3D74138DD5}" destId="{8716042C-279E-445F-9D73-431CE59149B3}" srcOrd="0" destOrd="0" presId="urn:microsoft.com/office/officeart/2005/8/layout/hChevron3"/>
    <dgm:cxn modelId="{51CC0CAE-B2F6-49EF-8872-7E2C3AD965A9}" srcId="{016A5C58-6F10-475B-AD20-F20F8A6A3F62}" destId="{788D83F9-12F3-435F-9AC6-CADDCF0D9496}" srcOrd="6" destOrd="0" parTransId="{EE1B5DBC-5FE9-4DFF-B69C-291BDBC58863}" sibTransId="{E591EBE1-D62A-47C6-93E4-B3DF6BD92EF7}"/>
    <dgm:cxn modelId="{34B7EBB2-4AED-459D-AA77-DF7CE66FA8C2}" srcId="{016A5C58-6F10-475B-AD20-F20F8A6A3F62}" destId="{4FAD3F94-C053-427D-AFC5-C97919B6599A}" srcOrd="4" destOrd="0" parTransId="{56A4E656-2A52-4162-AB60-A2104CB8A6BC}" sibTransId="{E801593A-5256-41D3-AEED-B93EFECA0175}"/>
    <dgm:cxn modelId="{E604E3C4-F233-406A-BA3E-9FFADC9701F4}" srcId="{016A5C58-6F10-475B-AD20-F20F8A6A3F62}" destId="{4BA06883-3EC1-44F1-8DA0-4A8D3906C15E}" srcOrd="7" destOrd="0" parTransId="{8A03BCEF-CFDD-41B5-BD32-5F52660B9F92}" sibTransId="{5A604114-08B4-4C56-8FD6-52638E847EE8}"/>
    <dgm:cxn modelId="{5223B0C8-3338-4FC6-8C1F-8C084474FB66}" type="presOf" srcId="{BDDE903C-B0D3-41A4-A87C-AD5F93F85454}" destId="{8CB61470-A8BE-45AF-B568-030F78BD9C71}" srcOrd="0" destOrd="0" presId="urn:microsoft.com/office/officeart/2005/8/layout/hChevron3"/>
    <dgm:cxn modelId="{38CEECC8-4CDF-45F0-9F10-237458F28257}" type="presOf" srcId="{E66FB40C-946E-4DCB-915F-6697C3C8FF34}" destId="{269FDA00-C630-4A00-98B1-AD0A61EE7CEA}" srcOrd="0" destOrd="0" presId="urn:microsoft.com/office/officeart/2005/8/layout/hChevron3"/>
    <dgm:cxn modelId="{4538F5CC-0F8F-430B-BEDE-D8D205F0D15C}" type="presOf" srcId="{788D83F9-12F3-435F-9AC6-CADDCF0D9496}" destId="{0116E7F4-F10C-4A6D-A83C-A0747C4128E4}" srcOrd="0" destOrd="0" presId="urn:microsoft.com/office/officeart/2005/8/layout/hChevron3"/>
    <dgm:cxn modelId="{3D0EE6CD-72BF-4016-BE93-A8269B0A5A12}" type="presOf" srcId="{016A5C58-6F10-475B-AD20-F20F8A6A3F62}" destId="{EC90D3A8-6A0E-469F-9237-35315AD1A0D1}" srcOrd="0" destOrd="0" presId="urn:microsoft.com/office/officeart/2005/8/layout/hChevron3"/>
    <dgm:cxn modelId="{8EE9B7D0-E7C8-4B07-B995-A7BB4D0A85EA}" type="presOf" srcId="{ABD25DA2-7FA7-4724-A504-89E4BF11CADF}" destId="{FEDD17B4-F6C8-4605-BC6B-8DAB5C1B20C6}" srcOrd="0" destOrd="0" presId="urn:microsoft.com/office/officeart/2005/8/layout/hChevron3"/>
    <dgm:cxn modelId="{2D3F6FDF-FA60-4856-8071-C623D75ABF5B}" srcId="{016A5C58-6F10-475B-AD20-F20F8A6A3F62}" destId="{87BDEA1D-635E-4ABC-8E3A-0B3D74138DD5}" srcOrd="5" destOrd="0" parTransId="{CF4EA680-C79C-49B4-8F4E-3BA1C5CC6388}" sibTransId="{6CD717ED-2194-4412-9C4E-646D516950EB}"/>
    <dgm:cxn modelId="{B63865E1-2D7C-4D52-9BF1-40BB4C0D744E}" srcId="{016A5C58-6F10-475B-AD20-F20F8A6A3F62}" destId="{5CD19421-3BF8-4BAA-BC94-C651140DB1CE}" srcOrd="1" destOrd="0" parTransId="{1ED880C6-5DD5-4474-83E0-93DD8D9FFA63}" sibTransId="{A73698A2-6489-4E7F-9E3B-AA019EF7D72F}"/>
    <dgm:cxn modelId="{E9A381DA-A013-4D83-A378-C41214B88955}" type="presParOf" srcId="{EC90D3A8-6A0E-469F-9237-35315AD1A0D1}" destId="{8CB61470-A8BE-45AF-B568-030F78BD9C71}" srcOrd="0" destOrd="0" presId="urn:microsoft.com/office/officeart/2005/8/layout/hChevron3"/>
    <dgm:cxn modelId="{FFB41BDB-6F22-4A73-AE1E-D3D9232D7159}" type="presParOf" srcId="{EC90D3A8-6A0E-469F-9237-35315AD1A0D1}" destId="{A5C2DB88-C06F-4A1F-A102-C29FFAFE029B}" srcOrd="1" destOrd="0" presId="urn:microsoft.com/office/officeart/2005/8/layout/hChevron3"/>
    <dgm:cxn modelId="{5EFD6631-D042-4E67-ACE6-75964E62652A}" type="presParOf" srcId="{EC90D3A8-6A0E-469F-9237-35315AD1A0D1}" destId="{87AFEA20-F8EC-44D9-AFC9-9CEEB1C8F633}" srcOrd="2" destOrd="0" presId="urn:microsoft.com/office/officeart/2005/8/layout/hChevron3"/>
    <dgm:cxn modelId="{48A33ECF-7CD4-4B14-9EAA-1FC0EC587A23}" type="presParOf" srcId="{EC90D3A8-6A0E-469F-9237-35315AD1A0D1}" destId="{0006E6F9-1FC9-43C4-A4BF-9C588E7EC57C}" srcOrd="3" destOrd="0" presId="urn:microsoft.com/office/officeart/2005/8/layout/hChevron3"/>
    <dgm:cxn modelId="{7772B4FF-3517-4181-8253-D304386129BD}" type="presParOf" srcId="{EC90D3A8-6A0E-469F-9237-35315AD1A0D1}" destId="{FEDD17B4-F6C8-4605-BC6B-8DAB5C1B20C6}" srcOrd="4" destOrd="0" presId="urn:microsoft.com/office/officeart/2005/8/layout/hChevron3"/>
    <dgm:cxn modelId="{BC57CAE0-FF54-40E0-9AC1-7E02E5291416}" type="presParOf" srcId="{EC90D3A8-6A0E-469F-9237-35315AD1A0D1}" destId="{9F5D31C2-FEE4-48A5-89C2-6904259DD5CF}" srcOrd="5" destOrd="0" presId="urn:microsoft.com/office/officeart/2005/8/layout/hChevron3"/>
    <dgm:cxn modelId="{BC9D6B4C-601D-41D9-AF64-759B5A2F4CF5}" type="presParOf" srcId="{EC90D3A8-6A0E-469F-9237-35315AD1A0D1}" destId="{269FDA00-C630-4A00-98B1-AD0A61EE7CEA}" srcOrd="6" destOrd="0" presId="urn:microsoft.com/office/officeart/2005/8/layout/hChevron3"/>
    <dgm:cxn modelId="{70544E76-4C5A-4480-9282-4895732A0EEB}" type="presParOf" srcId="{EC90D3A8-6A0E-469F-9237-35315AD1A0D1}" destId="{51E7065D-EDA9-4A37-98C0-9533A086547F}" srcOrd="7" destOrd="0" presId="urn:microsoft.com/office/officeart/2005/8/layout/hChevron3"/>
    <dgm:cxn modelId="{F14E3AB9-1415-43ED-AA40-F86AB84D640D}" type="presParOf" srcId="{EC90D3A8-6A0E-469F-9237-35315AD1A0D1}" destId="{9E204D48-F193-46A4-9491-0A9034F5A787}" srcOrd="8" destOrd="0" presId="urn:microsoft.com/office/officeart/2005/8/layout/hChevron3"/>
    <dgm:cxn modelId="{348B81D0-7881-49BF-A45C-67A1EFA0A735}" type="presParOf" srcId="{EC90D3A8-6A0E-469F-9237-35315AD1A0D1}" destId="{A6CC8A81-CFA3-4CB8-B2C5-18F47C83C96E}" srcOrd="9" destOrd="0" presId="urn:microsoft.com/office/officeart/2005/8/layout/hChevron3"/>
    <dgm:cxn modelId="{3E9F74F8-47B5-4957-9F2E-3D390CB695EB}" type="presParOf" srcId="{EC90D3A8-6A0E-469F-9237-35315AD1A0D1}" destId="{8716042C-279E-445F-9D73-431CE59149B3}" srcOrd="10" destOrd="0" presId="urn:microsoft.com/office/officeart/2005/8/layout/hChevron3"/>
    <dgm:cxn modelId="{8F4A72D0-373C-4594-9391-33792A7011E5}" type="presParOf" srcId="{EC90D3A8-6A0E-469F-9237-35315AD1A0D1}" destId="{B2738546-915D-49F7-A04E-4FD2662DE796}" srcOrd="11" destOrd="0" presId="urn:microsoft.com/office/officeart/2005/8/layout/hChevron3"/>
    <dgm:cxn modelId="{F2EFA6B0-4AB3-4681-911D-2AC5C73B9F6F}" type="presParOf" srcId="{EC90D3A8-6A0E-469F-9237-35315AD1A0D1}" destId="{0116E7F4-F10C-4A6D-A83C-A0747C4128E4}" srcOrd="12" destOrd="0" presId="urn:microsoft.com/office/officeart/2005/8/layout/hChevron3"/>
    <dgm:cxn modelId="{0B2308CA-E359-490D-A975-905FE06F2418}" type="presParOf" srcId="{EC90D3A8-6A0E-469F-9237-35315AD1A0D1}" destId="{075135B9-E0A6-4138-8979-D30464809E14}" srcOrd="13" destOrd="0" presId="urn:microsoft.com/office/officeart/2005/8/layout/hChevron3"/>
    <dgm:cxn modelId="{DB73A36B-9E56-41FA-871E-26FBE4D8F430}" type="presParOf" srcId="{EC90D3A8-6A0E-469F-9237-35315AD1A0D1}" destId="{4109E786-07E0-4C8D-88A0-15EAC9F813E3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3F6E30-2EBC-49A6-B9D7-251046C9F780}" type="doc">
      <dgm:prSet loTypeId="urn:microsoft.com/office/officeart/2005/8/layout/pyramid1" loCatId="pyramid" qsTypeId="urn:microsoft.com/office/officeart/2005/8/quickstyle/simple1" qsCatId="simple" csTypeId="urn:microsoft.com/office/officeart/2005/8/colors/accent1_3" csCatId="accent1" phldr="1"/>
      <dgm:spPr/>
    </dgm:pt>
    <dgm:pt modelId="{B2F3A68C-1C4F-4D40-9EBA-12594348022C}">
      <dgm:prSet phldrT="[Text]" custT="1"/>
      <dgm:spPr/>
      <dgm:t>
        <a:bodyPr/>
        <a:lstStyle/>
        <a:p>
          <a:endParaRPr lang="en-IN" sz="1200">
            <a:solidFill>
              <a:schemeClr val="tx1"/>
            </a:solidFill>
          </a:endParaRPr>
        </a:p>
        <a:p>
          <a:r>
            <a:rPr lang="en-IN" sz="1200">
              <a:solidFill>
                <a:schemeClr val="tx1"/>
              </a:solidFill>
            </a:rPr>
            <a:t>High</a:t>
          </a:r>
        </a:p>
        <a:p>
          <a:r>
            <a:rPr lang="en-IN" sz="1200" b="1">
              <a:solidFill>
                <a:schemeClr val="tx1"/>
              </a:solidFill>
            </a:rPr>
            <a:t> (3)</a:t>
          </a:r>
        </a:p>
      </dgm:t>
    </dgm:pt>
    <dgm:pt modelId="{739F39C2-A15B-44AC-AB4C-7F21B530D89D}" type="parTrans" cxnId="{0ED8838F-93D9-43C6-BA7F-F869448DCA75}">
      <dgm:prSet/>
      <dgm:spPr/>
      <dgm:t>
        <a:bodyPr/>
        <a:lstStyle/>
        <a:p>
          <a:endParaRPr lang="en-IN"/>
        </a:p>
      </dgm:t>
    </dgm:pt>
    <dgm:pt modelId="{549C7EB5-A787-4853-ADBF-4D6B9DA688CE}" type="sibTrans" cxnId="{0ED8838F-93D9-43C6-BA7F-F869448DCA75}">
      <dgm:prSet/>
      <dgm:spPr/>
      <dgm:t>
        <a:bodyPr/>
        <a:lstStyle/>
        <a:p>
          <a:endParaRPr lang="en-IN"/>
        </a:p>
      </dgm:t>
    </dgm:pt>
    <dgm:pt modelId="{9F6424D1-5462-4842-84E7-662C187ACF16}">
      <dgm:prSet phldrT="[Text]" custT="1"/>
      <dgm:spPr/>
      <dgm:t>
        <a:bodyPr/>
        <a:lstStyle/>
        <a:p>
          <a:r>
            <a:rPr lang="en-IN" sz="1400"/>
            <a:t>4.8-28 L Upper mid</a:t>
          </a:r>
        </a:p>
        <a:p>
          <a:r>
            <a:rPr lang="en-IN" sz="1400" b="1"/>
            <a:t>( 23%)</a:t>
          </a:r>
        </a:p>
      </dgm:t>
    </dgm:pt>
    <dgm:pt modelId="{F4F68C2F-9367-4C35-B5C8-47C205B6CB76}" type="parTrans" cxnId="{672C8F45-88EA-414C-B415-AA06580330F3}">
      <dgm:prSet/>
      <dgm:spPr/>
      <dgm:t>
        <a:bodyPr/>
        <a:lstStyle/>
        <a:p>
          <a:endParaRPr lang="en-IN"/>
        </a:p>
      </dgm:t>
    </dgm:pt>
    <dgm:pt modelId="{28F48496-64CD-4CED-8046-2CCEA5A970BF}" type="sibTrans" cxnId="{672C8F45-88EA-414C-B415-AA06580330F3}">
      <dgm:prSet/>
      <dgm:spPr/>
      <dgm:t>
        <a:bodyPr/>
        <a:lstStyle/>
        <a:p>
          <a:endParaRPr lang="en-IN"/>
        </a:p>
      </dgm:t>
    </dgm:pt>
    <dgm:pt modelId="{E0DA2053-4644-4F02-9B92-BF8455667736}">
      <dgm:prSet phldrT="[Text]" custT="1"/>
      <dgm:spPr/>
      <dgm:t>
        <a:bodyPr/>
        <a:lstStyle/>
        <a:p>
          <a:r>
            <a:rPr lang="en-IN" sz="1400"/>
            <a:t>&lt;2.4L</a:t>
          </a:r>
          <a:r>
            <a:rPr lang="en-IN" sz="1400" b="1"/>
            <a:t>(45%)</a:t>
          </a:r>
        </a:p>
      </dgm:t>
    </dgm:pt>
    <dgm:pt modelId="{72E98593-4201-4AF0-9C92-C4E89D97EA12}" type="parTrans" cxnId="{93C459BE-70F2-422B-9DAE-E59895EC94BE}">
      <dgm:prSet/>
      <dgm:spPr/>
      <dgm:t>
        <a:bodyPr/>
        <a:lstStyle/>
        <a:p>
          <a:endParaRPr lang="en-IN"/>
        </a:p>
      </dgm:t>
    </dgm:pt>
    <dgm:pt modelId="{B83AF5EC-9214-44E9-AFD2-B0627ED5E495}" type="sibTrans" cxnId="{93C459BE-70F2-422B-9DAE-E59895EC94BE}">
      <dgm:prSet/>
      <dgm:spPr/>
      <dgm:t>
        <a:bodyPr/>
        <a:lstStyle/>
        <a:p>
          <a:endParaRPr lang="en-IN"/>
        </a:p>
      </dgm:t>
    </dgm:pt>
    <dgm:pt modelId="{84AF2551-535C-4B41-86A8-2FC5EF8BADF6}">
      <dgm:prSet phldrT="[Text]" custT="1"/>
      <dgm:spPr/>
      <dgm:t>
        <a:bodyPr/>
        <a:lstStyle/>
        <a:p>
          <a:r>
            <a:rPr lang="en-IN" sz="1400"/>
            <a:t>2.4-4.8L(Lower mid) </a:t>
          </a:r>
          <a:r>
            <a:rPr lang="en-IN" sz="1400" b="1"/>
            <a:t>(29%)</a:t>
          </a:r>
        </a:p>
      </dgm:t>
    </dgm:pt>
    <dgm:pt modelId="{9372EEB3-79AE-4182-8AA9-2A4142171276}" type="parTrans" cxnId="{5B188A4F-F014-4C49-A259-FB661BB2F7B1}">
      <dgm:prSet/>
      <dgm:spPr/>
      <dgm:t>
        <a:bodyPr/>
        <a:lstStyle/>
        <a:p>
          <a:endParaRPr lang="en-IN"/>
        </a:p>
      </dgm:t>
    </dgm:pt>
    <dgm:pt modelId="{FC02B1A3-F129-43AF-9D4D-9334D0955BB2}" type="sibTrans" cxnId="{5B188A4F-F014-4C49-A259-FB661BB2F7B1}">
      <dgm:prSet/>
      <dgm:spPr/>
      <dgm:t>
        <a:bodyPr/>
        <a:lstStyle/>
        <a:p>
          <a:endParaRPr lang="en-IN"/>
        </a:p>
      </dgm:t>
    </dgm:pt>
    <dgm:pt modelId="{E35A36B6-0FA9-4E83-86B0-09D7C47D2797}" type="pres">
      <dgm:prSet presAssocID="{953F6E30-2EBC-49A6-B9D7-251046C9F780}" presName="Name0" presStyleCnt="0">
        <dgm:presLayoutVars>
          <dgm:dir/>
          <dgm:animLvl val="lvl"/>
          <dgm:resizeHandles val="exact"/>
        </dgm:presLayoutVars>
      </dgm:prSet>
      <dgm:spPr/>
    </dgm:pt>
    <dgm:pt modelId="{36F5D30D-E14D-4564-AE3F-73AF19DD47E7}" type="pres">
      <dgm:prSet presAssocID="{B2F3A68C-1C4F-4D40-9EBA-12594348022C}" presName="Name8" presStyleCnt="0"/>
      <dgm:spPr/>
    </dgm:pt>
    <dgm:pt modelId="{CA48CA38-FEE4-451E-B815-7127AEA29DEE}" type="pres">
      <dgm:prSet presAssocID="{B2F3A68C-1C4F-4D40-9EBA-12594348022C}" presName="level" presStyleLbl="node1" presStyleIdx="0" presStyleCnt="4" custLinFactNeighborY="1889">
        <dgm:presLayoutVars>
          <dgm:chMax val="1"/>
          <dgm:bulletEnabled val="1"/>
        </dgm:presLayoutVars>
      </dgm:prSet>
      <dgm:spPr/>
    </dgm:pt>
    <dgm:pt modelId="{B32A6F66-71FD-4CC6-9325-2099A210D3F9}" type="pres">
      <dgm:prSet presAssocID="{B2F3A68C-1C4F-4D40-9EBA-12594348022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5796243-0B5A-4D84-AEF0-FBA715C53343}" type="pres">
      <dgm:prSet presAssocID="{9F6424D1-5462-4842-84E7-662C187ACF16}" presName="Name8" presStyleCnt="0"/>
      <dgm:spPr/>
    </dgm:pt>
    <dgm:pt modelId="{298B9630-CC96-4F58-9503-38BD1CA931C3}" type="pres">
      <dgm:prSet presAssocID="{9F6424D1-5462-4842-84E7-662C187ACF16}" presName="level" presStyleLbl="node1" presStyleIdx="1" presStyleCnt="4">
        <dgm:presLayoutVars>
          <dgm:chMax val="1"/>
          <dgm:bulletEnabled val="1"/>
        </dgm:presLayoutVars>
      </dgm:prSet>
      <dgm:spPr/>
    </dgm:pt>
    <dgm:pt modelId="{A11FD7D5-76A3-482E-8357-F6E393183FC8}" type="pres">
      <dgm:prSet presAssocID="{9F6424D1-5462-4842-84E7-662C187ACF1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03FAFD3-2EB0-40D3-B122-562B6549A942}" type="pres">
      <dgm:prSet presAssocID="{84AF2551-535C-4B41-86A8-2FC5EF8BADF6}" presName="Name8" presStyleCnt="0"/>
      <dgm:spPr/>
    </dgm:pt>
    <dgm:pt modelId="{19AAD203-F851-4B97-82A5-9608844379BF}" type="pres">
      <dgm:prSet presAssocID="{84AF2551-535C-4B41-86A8-2FC5EF8BADF6}" presName="level" presStyleLbl="node1" presStyleIdx="2" presStyleCnt="4" custAng="0">
        <dgm:presLayoutVars>
          <dgm:chMax val="1"/>
          <dgm:bulletEnabled val="1"/>
        </dgm:presLayoutVars>
      </dgm:prSet>
      <dgm:spPr/>
    </dgm:pt>
    <dgm:pt modelId="{1C5D77BA-9773-4DA2-9328-81D632909DAC}" type="pres">
      <dgm:prSet presAssocID="{84AF2551-535C-4B41-86A8-2FC5EF8BADF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927635E-E84A-4E6F-8E61-7C35399676A9}" type="pres">
      <dgm:prSet presAssocID="{E0DA2053-4644-4F02-9B92-BF8455667736}" presName="Name8" presStyleCnt="0"/>
      <dgm:spPr/>
    </dgm:pt>
    <dgm:pt modelId="{76DE2153-076E-44FD-AC2B-574AE746DFA0}" type="pres">
      <dgm:prSet presAssocID="{E0DA2053-4644-4F02-9B92-BF8455667736}" presName="level" presStyleLbl="node1" presStyleIdx="3" presStyleCnt="4">
        <dgm:presLayoutVars>
          <dgm:chMax val="1"/>
          <dgm:bulletEnabled val="1"/>
        </dgm:presLayoutVars>
      </dgm:prSet>
      <dgm:spPr/>
    </dgm:pt>
    <dgm:pt modelId="{4AAC991F-3278-41C3-ADBD-B6E4C933C45D}" type="pres">
      <dgm:prSet presAssocID="{E0DA2053-4644-4F02-9B92-BF8455667736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7E58370D-4C95-4645-9F35-6F209F8FE06F}" type="presOf" srcId="{9F6424D1-5462-4842-84E7-662C187ACF16}" destId="{298B9630-CC96-4F58-9503-38BD1CA931C3}" srcOrd="0" destOrd="0" presId="urn:microsoft.com/office/officeart/2005/8/layout/pyramid1"/>
    <dgm:cxn modelId="{C6008816-7B7D-4901-AFDE-C34971687F98}" type="presOf" srcId="{9F6424D1-5462-4842-84E7-662C187ACF16}" destId="{A11FD7D5-76A3-482E-8357-F6E393183FC8}" srcOrd="1" destOrd="0" presId="urn:microsoft.com/office/officeart/2005/8/layout/pyramid1"/>
    <dgm:cxn modelId="{78FBB629-E0A7-4B39-8287-BE937DBA1479}" type="presOf" srcId="{E0DA2053-4644-4F02-9B92-BF8455667736}" destId="{4AAC991F-3278-41C3-ADBD-B6E4C933C45D}" srcOrd="1" destOrd="0" presId="urn:microsoft.com/office/officeart/2005/8/layout/pyramid1"/>
    <dgm:cxn modelId="{A466BC44-AC35-46E0-BD01-39F5BE6F1C68}" type="presOf" srcId="{84AF2551-535C-4B41-86A8-2FC5EF8BADF6}" destId="{1C5D77BA-9773-4DA2-9328-81D632909DAC}" srcOrd="1" destOrd="0" presId="urn:microsoft.com/office/officeart/2005/8/layout/pyramid1"/>
    <dgm:cxn modelId="{672C8F45-88EA-414C-B415-AA06580330F3}" srcId="{953F6E30-2EBC-49A6-B9D7-251046C9F780}" destId="{9F6424D1-5462-4842-84E7-662C187ACF16}" srcOrd="1" destOrd="0" parTransId="{F4F68C2F-9367-4C35-B5C8-47C205B6CB76}" sibTransId="{28F48496-64CD-4CED-8046-2CCEA5A970BF}"/>
    <dgm:cxn modelId="{39683F48-6A12-4327-817A-2FCF75D4AC4C}" type="presOf" srcId="{E0DA2053-4644-4F02-9B92-BF8455667736}" destId="{76DE2153-076E-44FD-AC2B-574AE746DFA0}" srcOrd="0" destOrd="0" presId="urn:microsoft.com/office/officeart/2005/8/layout/pyramid1"/>
    <dgm:cxn modelId="{46BE834B-EA61-44C9-A9BA-9FE7BC61ABDE}" type="presOf" srcId="{953F6E30-2EBC-49A6-B9D7-251046C9F780}" destId="{E35A36B6-0FA9-4E83-86B0-09D7C47D2797}" srcOrd="0" destOrd="0" presId="urn:microsoft.com/office/officeart/2005/8/layout/pyramid1"/>
    <dgm:cxn modelId="{A4EA424E-FE30-4D12-B910-97085852C5F5}" type="presOf" srcId="{B2F3A68C-1C4F-4D40-9EBA-12594348022C}" destId="{CA48CA38-FEE4-451E-B815-7127AEA29DEE}" srcOrd="0" destOrd="0" presId="urn:microsoft.com/office/officeart/2005/8/layout/pyramid1"/>
    <dgm:cxn modelId="{5B188A4F-F014-4C49-A259-FB661BB2F7B1}" srcId="{953F6E30-2EBC-49A6-B9D7-251046C9F780}" destId="{84AF2551-535C-4B41-86A8-2FC5EF8BADF6}" srcOrd="2" destOrd="0" parTransId="{9372EEB3-79AE-4182-8AA9-2A4142171276}" sibTransId="{FC02B1A3-F129-43AF-9D4D-9334D0955BB2}"/>
    <dgm:cxn modelId="{066E3E74-D757-4582-945D-8E7BB13142F5}" type="presOf" srcId="{B2F3A68C-1C4F-4D40-9EBA-12594348022C}" destId="{B32A6F66-71FD-4CC6-9325-2099A210D3F9}" srcOrd="1" destOrd="0" presId="urn:microsoft.com/office/officeart/2005/8/layout/pyramid1"/>
    <dgm:cxn modelId="{0ED8838F-93D9-43C6-BA7F-F869448DCA75}" srcId="{953F6E30-2EBC-49A6-B9D7-251046C9F780}" destId="{B2F3A68C-1C4F-4D40-9EBA-12594348022C}" srcOrd="0" destOrd="0" parTransId="{739F39C2-A15B-44AC-AB4C-7F21B530D89D}" sibTransId="{549C7EB5-A787-4853-ADBF-4D6B9DA688CE}"/>
    <dgm:cxn modelId="{ACCA33AD-FEE6-4572-B62D-DFF9375D06EE}" type="presOf" srcId="{84AF2551-535C-4B41-86A8-2FC5EF8BADF6}" destId="{19AAD203-F851-4B97-82A5-9608844379BF}" srcOrd="0" destOrd="0" presId="urn:microsoft.com/office/officeart/2005/8/layout/pyramid1"/>
    <dgm:cxn modelId="{93C459BE-70F2-422B-9DAE-E59895EC94BE}" srcId="{953F6E30-2EBC-49A6-B9D7-251046C9F780}" destId="{E0DA2053-4644-4F02-9B92-BF8455667736}" srcOrd="3" destOrd="0" parTransId="{72E98593-4201-4AF0-9C92-C4E89D97EA12}" sibTransId="{B83AF5EC-9214-44E9-AFD2-B0627ED5E495}"/>
    <dgm:cxn modelId="{44A37574-0191-4679-A2B9-326D7854CE0E}" type="presParOf" srcId="{E35A36B6-0FA9-4E83-86B0-09D7C47D2797}" destId="{36F5D30D-E14D-4564-AE3F-73AF19DD47E7}" srcOrd="0" destOrd="0" presId="urn:microsoft.com/office/officeart/2005/8/layout/pyramid1"/>
    <dgm:cxn modelId="{007353BC-2997-4C6F-AF12-272F977F30AD}" type="presParOf" srcId="{36F5D30D-E14D-4564-AE3F-73AF19DD47E7}" destId="{CA48CA38-FEE4-451E-B815-7127AEA29DEE}" srcOrd="0" destOrd="0" presId="urn:microsoft.com/office/officeart/2005/8/layout/pyramid1"/>
    <dgm:cxn modelId="{DA2EAD73-3C68-4836-8D89-1B01ED593806}" type="presParOf" srcId="{36F5D30D-E14D-4564-AE3F-73AF19DD47E7}" destId="{B32A6F66-71FD-4CC6-9325-2099A210D3F9}" srcOrd="1" destOrd="0" presId="urn:microsoft.com/office/officeart/2005/8/layout/pyramid1"/>
    <dgm:cxn modelId="{D248636C-B375-47BF-A20C-5BDADD0E6E6A}" type="presParOf" srcId="{E35A36B6-0FA9-4E83-86B0-09D7C47D2797}" destId="{D5796243-0B5A-4D84-AEF0-FBA715C53343}" srcOrd="1" destOrd="0" presId="urn:microsoft.com/office/officeart/2005/8/layout/pyramid1"/>
    <dgm:cxn modelId="{9878444C-4F16-4A77-91B8-CA561BC6F54B}" type="presParOf" srcId="{D5796243-0B5A-4D84-AEF0-FBA715C53343}" destId="{298B9630-CC96-4F58-9503-38BD1CA931C3}" srcOrd="0" destOrd="0" presId="urn:microsoft.com/office/officeart/2005/8/layout/pyramid1"/>
    <dgm:cxn modelId="{CC3C143B-ED84-4A7B-8545-CF6335BE2C70}" type="presParOf" srcId="{D5796243-0B5A-4D84-AEF0-FBA715C53343}" destId="{A11FD7D5-76A3-482E-8357-F6E393183FC8}" srcOrd="1" destOrd="0" presId="urn:microsoft.com/office/officeart/2005/8/layout/pyramid1"/>
    <dgm:cxn modelId="{66D19FF0-F156-4ABB-BA6E-3E8BB244404F}" type="presParOf" srcId="{E35A36B6-0FA9-4E83-86B0-09D7C47D2797}" destId="{203FAFD3-2EB0-40D3-B122-562B6549A942}" srcOrd="2" destOrd="0" presId="urn:microsoft.com/office/officeart/2005/8/layout/pyramid1"/>
    <dgm:cxn modelId="{1FB62FE2-9F0E-4C54-B05B-3B91ABBDC1DD}" type="presParOf" srcId="{203FAFD3-2EB0-40D3-B122-562B6549A942}" destId="{19AAD203-F851-4B97-82A5-9608844379BF}" srcOrd="0" destOrd="0" presId="urn:microsoft.com/office/officeart/2005/8/layout/pyramid1"/>
    <dgm:cxn modelId="{9707DDFF-42FA-4D78-9E90-04B888DBF714}" type="presParOf" srcId="{203FAFD3-2EB0-40D3-B122-562B6549A942}" destId="{1C5D77BA-9773-4DA2-9328-81D632909DAC}" srcOrd="1" destOrd="0" presId="urn:microsoft.com/office/officeart/2005/8/layout/pyramid1"/>
    <dgm:cxn modelId="{272ABC9D-AA97-424B-8D83-E189265439CE}" type="presParOf" srcId="{E35A36B6-0FA9-4E83-86B0-09D7C47D2797}" destId="{0927635E-E84A-4E6F-8E61-7C35399676A9}" srcOrd="3" destOrd="0" presId="urn:microsoft.com/office/officeart/2005/8/layout/pyramid1"/>
    <dgm:cxn modelId="{380B6B71-71FF-424E-8627-77881E94F5EA}" type="presParOf" srcId="{0927635E-E84A-4E6F-8E61-7C35399676A9}" destId="{76DE2153-076E-44FD-AC2B-574AE746DFA0}" srcOrd="0" destOrd="0" presId="urn:microsoft.com/office/officeart/2005/8/layout/pyramid1"/>
    <dgm:cxn modelId="{284E9879-EA40-4DFF-B7B1-F0259C6A6B5B}" type="presParOf" srcId="{0927635E-E84A-4E6F-8E61-7C35399676A9}" destId="{4AAC991F-3278-41C3-ADBD-B6E4C933C45D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16A5C58-6F10-475B-AD20-F20F8A6A3F62}" type="doc">
      <dgm:prSet loTypeId="urn:microsoft.com/office/officeart/2005/8/layout/hChevron3" loCatId="process" qsTypeId="urn:microsoft.com/office/officeart/2005/8/quickstyle/simple2" qsCatId="simple" csTypeId="urn:microsoft.com/office/officeart/2005/8/colors/accent1_5" csCatId="accent1" phldr="1"/>
      <dgm:spPr/>
    </dgm:pt>
    <dgm:pt modelId="{BDDE903C-B0D3-41A4-A87C-AD5F93F85454}">
      <dgm:prSet phldrT="[Text]" custT="1"/>
      <dgm:spPr/>
      <dgm:t>
        <a:bodyPr/>
        <a:lstStyle/>
        <a:p>
          <a:r>
            <a:rPr lang="en-IN" sz="1200" b="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>
              <a:solidFill>
                <a:schemeClr val="accent5">
                  <a:lumMod val="75000"/>
                </a:schemeClr>
              </a:solidFill>
            </a:rPr>
            <a:t> </a:t>
          </a:r>
        </a:p>
      </dgm:t>
    </dgm:pt>
    <dgm:pt modelId="{33A3A7AC-3D1B-4568-9B85-4A696F516EA5}" type="parTrans" cxnId="{3046E599-A7A9-4BEE-8F91-B0EE665633C2}">
      <dgm:prSet/>
      <dgm:spPr/>
      <dgm:t>
        <a:bodyPr/>
        <a:lstStyle/>
        <a:p>
          <a:endParaRPr lang="en-IN"/>
        </a:p>
      </dgm:t>
    </dgm:pt>
    <dgm:pt modelId="{2C4F2221-9372-48F1-9363-74F911A90690}" type="sibTrans" cxnId="{3046E599-A7A9-4BEE-8F91-B0EE665633C2}">
      <dgm:prSet/>
      <dgm:spPr/>
      <dgm:t>
        <a:bodyPr/>
        <a:lstStyle/>
        <a:p>
          <a:endParaRPr lang="en-IN"/>
        </a:p>
      </dgm:t>
    </dgm:pt>
    <dgm:pt modelId="{5CD19421-3BF8-4BAA-BC94-C651140DB1CE}">
      <dgm:prSet phldrT="[Text]" custT="1"/>
      <dgm:spPr>
        <a:solidFill>
          <a:srgbClr val="010101">
            <a:alpha val="84286"/>
          </a:srgbClr>
        </a:solidFill>
      </dgm:spPr>
      <dgm:t>
        <a:bodyPr/>
        <a:lstStyle/>
        <a:p>
          <a:pPr algn="ctr"/>
          <a:r>
            <a:rPr lang="en-IN" sz="1200" b="1">
              <a:solidFill>
                <a:schemeClr val="bg1"/>
              </a:solidFill>
            </a:rPr>
            <a:t>ABI </a:t>
          </a:r>
          <a:r>
            <a:rPr lang="en-IN" sz="1100" b="1">
              <a:solidFill>
                <a:schemeClr val="bg1"/>
              </a:solidFill>
            </a:rPr>
            <a:t>In </a:t>
          </a:r>
          <a:r>
            <a:rPr lang="en-IN" sz="1200" b="1">
              <a:solidFill>
                <a:schemeClr val="bg1"/>
              </a:solidFill>
            </a:rPr>
            <a:t>NE</a:t>
          </a:r>
        </a:p>
      </dgm:t>
    </dgm:pt>
    <dgm:pt modelId="{1ED880C6-5DD5-4474-83E0-93DD8D9FFA63}" type="parTrans" cxnId="{B63865E1-2D7C-4D52-9BF1-40BB4C0D744E}">
      <dgm:prSet/>
      <dgm:spPr/>
      <dgm:t>
        <a:bodyPr/>
        <a:lstStyle/>
        <a:p>
          <a:endParaRPr lang="en-IN"/>
        </a:p>
      </dgm:t>
    </dgm:pt>
    <dgm:pt modelId="{A73698A2-6489-4E7F-9E3B-AA019EF7D72F}" type="sibTrans" cxnId="{B63865E1-2D7C-4D52-9BF1-40BB4C0D744E}">
      <dgm:prSet/>
      <dgm:spPr/>
      <dgm:t>
        <a:bodyPr/>
        <a:lstStyle/>
        <a:p>
          <a:endParaRPr lang="en-IN"/>
        </a:p>
      </dgm:t>
    </dgm:pt>
    <dgm:pt modelId="{ABD25DA2-7FA7-4724-A504-89E4BF11CADF}">
      <dgm:prSet phldrT="[Text]"/>
      <dgm:spPr/>
      <dgm:t>
        <a:bodyPr/>
        <a:lstStyle/>
        <a:p>
          <a:pPr algn="l"/>
          <a:r>
            <a:rPr lang="en-IN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gm:t>
    </dgm:pt>
    <dgm:pt modelId="{A91EA40C-C480-47D7-9BC6-7FABC4BB598E}" type="parTrans" cxnId="{A78B4772-BF32-451C-86FF-1EE4BEA41C85}">
      <dgm:prSet/>
      <dgm:spPr/>
      <dgm:t>
        <a:bodyPr/>
        <a:lstStyle/>
        <a:p>
          <a:endParaRPr lang="en-IN"/>
        </a:p>
      </dgm:t>
    </dgm:pt>
    <dgm:pt modelId="{321C28C8-8E17-477E-A7DD-586E2DE77383}" type="sibTrans" cxnId="{A78B4772-BF32-451C-86FF-1EE4BEA41C85}">
      <dgm:prSet/>
      <dgm:spPr/>
      <dgm:t>
        <a:bodyPr/>
        <a:lstStyle/>
        <a:p>
          <a:endParaRPr lang="en-IN"/>
        </a:p>
      </dgm:t>
    </dgm:pt>
    <dgm:pt modelId="{E66FB40C-946E-4DCB-915F-6697C3C8FF34}">
      <dgm:prSet phldrT="[Text]" custT="1"/>
      <dgm:spPr/>
      <dgm:t>
        <a:bodyPr/>
        <a:lstStyle/>
        <a:p>
          <a:pPr algn="l"/>
          <a:r>
            <a:rPr lang="en-IN" sz="105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gm:t>
    </dgm:pt>
    <dgm:pt modelId="{4DB35684-870D-467A-9396-A57F8E6F4249}" type="parTrans" cxnId="{0E93FA1D-E703-434E-BBEA-BE46C14392AE}">
      <dgm:prSet/>
      <dgm:spPr/>
      <dgm:t>
        <a:bodyPr/>
        <a:lstStyle/>
        <a:p>
          <a:endParaRPr lang="en-IN"/>
        </a:p>
      </dgm:t>
    </dgm:pt>
    <dgm:pt modelId="{5A6D3F57-0368-43F5-BE3D-95AB59469597}" type="sibTrans" cxnId="{0E93FA1D-E703-434E-BBEA-BE46C14392AE}">
      <dgm:prSet/>
      <dgm:spPr/>
      <dgm:t>
        <a:bodyPr/>
        <a:lstStyle/>
        <a:p>
          <a:endParaRPr lang="en-IN"/>
        </a:p>
      </dgm:t>
    </dgm:pt>
    <dgm:pt modelId="{4FAD3F94-C053-427D-AFC5-C97919B6599A}">
      <dgm:prSet phldrT="[Text]"/>
      <dgm:spPr/>
      <dgm:t>
        <a:bodyPr/>
        <a:lstStyle/>
        <a:p>
          <a:r>
            <a:rPr lang="en-IN" b="0">
              <a:solidFill>
                <a:schemeClr val="accent5">
                  <a:lumMod val="75000"/>
                </a:schemeClr>
              </a:solidFill>
            </a:rPr>
            <a:t>ESG analysis</a:t>
          </a:r>
        </a:p>
      </dgm:t>
    </dgm:pt>
    <dgm:pt modelId="{56A4E656-2A52-4162-AB60-A2104CB8A6BC}" type="parTrans" cxnId="{34B7EBB2-4AED-459D-AA77-DF7CE66FA8C2}">
      <dgm:prSet/>
      <dgm:spPr/>
      <dgm:t>
        <a:bodyPr/>
        <a:lstStyle/>
        <a:p>
          <a:endParaRPr lang="en-IN"/>
        </a:p>
      </dgm:t>
    </dgm:pt>
    <dgm:pt modelId="{E801593A-5256-41D3-AEED-B93EFECA0175}" type="sibTrans" cxnId="{34B7EBB2-4AED-459D-AA77-DF7CE66FA8C2}">
      <dgm:prSet/>
      <dgm:spPr/>
      <dgm:t>
        <a:bodyPr/>
        <a:lstStyle/>
        <a:p>
          <a:endParaRPr lang="en-IN"/>
        </a:p>
      </dgm:t>
    </dgm:pt>
    <dgm:pt modelId="{87BDEA1D-635E-4ABC-8E3A-0B3D74138DD5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ere we play?</a:t>
          </a:r>
        </a:p>
      </dgm:t>
    </dgm:pt>
    <dgm:pt modelId="{CF4EA680-C79C-49B4-8F4E-3BA1C5CC6388}" type="parTrans" cxnId="{2D3F6FDF-FA60-4856-8071-C623D75ABF5B}">
      <dgm:prSet/>
      <dgm:spPr/>
      <dgm:t>
        <a:bodyPr/>
        <a:lstStyle/>
        <a:p>
          <a:endParaRPr lang="en-IN"/>
        </a:p>
      </dgm:t>
    </dgm:pt>
    <dgm:pt modelId="{6CD717ED-2194-4412-9C4E-646D516950EB}" type="sibTrans" cxnId="{2D3F6FDF-FA60-4856-8071-C623D75ABF5B}">
      <dgm:prSet/>
      <dgm:spPr/>
      <dgm:t>
        <a:bodyPr/>
        <a:lstStyle/>
        <a:p>
          <a:endParaRPr lang="en-IN"/>
        </a:p>
      </dgm:t>
    </dgm:pt>
    <dgm:pt modelId="{788D83F9-12F3-435F-9AC6-CADDCF0D9496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Financials</a:t>
          </a:r>
        </a:p>
      </dgm:t>
    </dgm:pt>
    <dgm:pt modelId="{EE1B5DBC-5FE9-4DFF-B69C-291BDBC58863}" type="parTrans" cxnId="{51CC0CAE-B2F6-49EF-8872-7E2C3AD965A9}">
      <dgm:prSet/>
      <dgm:spPr/>
      <dgm:t>
        <a:bodyPr/>
        <a:lstStyle/>
        <a:p>
          <a:endParaRPr lang="en-IN"/>
        </a:p>
      </dgm:t>
    </dgm:pt>
    <dgm:pt modelId="{E591EBE1-D62A-47C6-93E4-B3DF6BD92EF7}" type="sibTrans" cxnId="{51CC0CAE-B2F6-49EF-8872-7E2C3AD965A9}">
      <dgm:prSet/>
      <dgm:spPr/>
      <dgm:t>
        <a:bodyPr/>
        <a:lstStyle/>
        <a:p>
          <a:endParaRPr lang="en-IN"/>
        </a:p>
      </dgm:t>
    </dgm:pt>
    <dgm:pt modelId="{4BA06883-3EC1-44F1-8DA0-4A8D3906C15E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>
            <a:solidFill>
              <a:schemeClr val="accent5">
                <a:lumMod val="75000"/>
              </a:schemeClr>
            </a:solidFill>
          </a:endParaRPr>
        </a:p>
      </dgm:t>
    </dgm:pt>
    <dgm:pt modelId="{8A03BCEF-CFDD-41B5-BD32-5F52660B9F92}" type="parTrans" cxnId="{70F3749D-96A7-4E24-A53D-106782BDCD4A}">
      <dgm:prSet/>
      <dgm:spPr/>
      <dgm:t>
        <a:bodyPr/>
        <a:lstStyle/>
        <a:p>
          <a:endParaRPr lang="en-IN"/>
        </a:p>
      </dgm:t>
    </dgm:pt>
    <dgm:pt modelId="{5A604114-08B4-4C56-8FD6-52638E847EE8}" type="sibTrans" cxnId="{70F3749D-96A7-4E24-A53D-106782BDCD4A}">
      <dgm:prSet/>
      <dgm:spPr/>
      <dgm:t>
        <a:bodyPr/>
        <a:lstStyle/>
        <a:p>
          <a:endParaRPr lang="en-IN"/>
        </a:p>
      </dgm:t>
    </dgm:pt>
    <dgm:pt modelId="{EC90D3A8-6A0E-469F-9237-35315AD1A0D1}" type="pres">
      <dgm:prSet presAssocID="{016A5C58-6F10-475B-AD20-F20F8A6A3F62}" presName="Name0" presStyleCnt="0">
        <dgm:presLayoutVars>
          <dgm:dir/>
          <dgm:resizeHandles val="exact"/>
        </dgm:presLayoutVars>
      </dgm:prSet>
      <dgm:spPr/>
    </dgm:pt>
    <dgm:pt modelId="{8CB61470-A8BE-45AF-B568-030F78BD9C71}" type="pres">
      <dgm:prSet presAssocID="{BDDE903C-B0D3-41A4-A87C-AD5F93F85454}" presName="parTxOnly" presStyleLbl="node1" presStyleIdx="0" presStyleCnt="8" custLinFactNeighborX="-425" custLinFactNeighborY="-64414">
        <dgm:presLayoutVars>
          <dgm:bulletEnabled val="1"/>
        </dgm:presLayoutVars>
      </dgm:prSet>
      <dgm:spPr/>
    </dgm:pt>
    <dgm:pt modelId="{A5C2DB88-C06F-4A1F-A102-C29FFAFE029B}" type="pres">
      <dgm:prSet presAssocID="{2C4F2221-9372-48F1-9363-74F911A90690}" presName="parSpace" presStyleCnt="0"/>
      <dgm:spPr/>
    </dgm:pt>
    <dgm:pt modelId="{87AFEA20-F8EC-44D9-AFC9-9CEEB1C8F633}" type="pres">
      <dgm:prSet presAssocID="{5CD19421-3BF8-4BAA-BC94-C651140DB1CE}" presName="parTxOnly" presStyleLbl="node1" presStyleIdx="1" presStyleCnt="8" custLinFactNeighborY="-298">
        <dgm:presLayoutVars>
          <dgm:bulletEnabled val="1"/>
        </dgm:presLayoutVars>
      </dgm:prSet>
      <dgm:spPr/>
    </dgm:pt>
    <dgm:pt modelId="{0006E6F9-1FC9-43C4-A4BF-9C588E7EC57C}" type="pres">
      <dgm:prSet presAssocID="{A73698A2-6489-4E7F-9E3B-AA019EF7D72F}" presName="parSpace" presStyleCnt="0"/>
      <dgm:spPr/>
    </dgm:pt>
    <dgm:pt modelId="{FEDD17B4-F6C8-4605-BC6B-8DAB5C1B20C6}" type="pres">
      <dgm:prSet presAssocID="{ABD25DA2-7FA7-4724-A504-89E4BF11CADF}" presName="parTxOnly" presStyleLbl="node1" presStyleIdx="2" presStyleCnt="8" custLinFactNeighborY="-6340">
        <dgm:presLayoutVars>
          <dgm:bulletEnabled val="1"/>
        </dgm:presLayoutVars>
      </dgm:prSet>
      <dgm:spPr/>
    </dgm:pt>
    <dgm:pt modelId="{9F5D31C2-FEE4-48A5-89C2-6904259DD5CF}" type="pres">
      <dgm:prSet presAssocID="{321C28C8-8E17-477E-A7DD-586E2DE77383}" presName="parSpace" presStyleCnt="0"/>
      <dgm:spPr/>
    </dgm:pt>
    <dgm:pt modelId="{269FDA00-C630-4A00-98B1-AD0A61EE7CEA}" type="pres">
      <dgm:prSet presAssocID="{E66FB40C-946E-4DCB-915F-6697C3C8FF34}" presName="parTxOnly" presStyleLbl="node1" presStyleIdx="3" presStyleCnt="8" custLinFactNeighborY="-6340">
        <dgm:presLayoutVars>
          <dgm:bulletEnabled val="1"/>
        </dgm:presLayoutVars>
      </dgm:prSet>
      <dgm:spPr/>
    </dgm:pt>
    <dgm:pt modelId="{51E7065D-EDA9-4A37-98C0-9533A086547F}" type="pres">
      <dgm:prSet presAssocID="{5A6D3F57-0368-43F5-BE3D-95AB59469597}" presName="parSpace" presStyleCnt="0"/>
      <dgm:spPr/>
    </dgm:pt>
    <dgm:pt modelId="{9E204D48-F193-46A4-9491-0A9034F5A787}" type="pres">
      <dgm:prSet presAssocID="{4FAD3F94-C053-427D-AFC5-C97919B6599A}" presName="parTxOnly" presStyleLbl="node1" presStyleIdx="4" presStyleCnt="8" custLinFactNeighborY="-6340">
        <dgm:presLayoutVars>
          <dgm:bulletEnabled val="1"/>
        </dgm:presLayoutVars>
      </dgm:prSet>
      <dgm:spPr/>
    </dgm:pt>
    <dgm:pt modelId="{A6CC8A81-CFA3-4CB8-B2C5-18F47C83C96E}" type="pres">
      <dgm:prSet presAssocID="{E801593A-5256-41D3-AEED-B93EFECA0175}" presName="parSpace" presStyleCnt="0"/>
      <dgm:spPr/>
    </dgm:pt>
    <dgm:pt modelId="{8716042C-279E-445F-9D73-431CE59149B3}" type="pres">
      <dgm:prSet presAssocID="{87BDEA1D-635E-4ABC-8E3A-0B3D74138DD5}" presName="parTxOnly" presStyleLbl="node1" presStyleIdx="5" presStyleCnt="8" custLinFactNeighborY="-6340">
        <dgm:presLayoutVars>
          <dgm:bulletEnabled val="1"/>
        </dgm:presLayoutVars>
      </dgm:prSet>
      <dgm:spPr/>
    </dgm:pt>
    <dgm:pt modelId="{B2738546-915D-49F7-A04E-4FD2662DE796}" type="pres">
      <dgm:prSet presAssocID="{6CD717ED-2194-4412-9C4E-646D516950EB}" presName="parSpace" presStyleCnt="0"/>
      <dgm:spPr/>
    </dgm:pt>
    <dgm:pt modelId="{0116E7F4-F10C-4A6D-A83C-A0747C4128E4}" type="pres">
      <dgm:prSet presAssocID="{788D83F9-12F3-435F-9AC6-CADDCF0D9496}" presName="parTxOnly" presStyleLbl="node1" presStyleIdx="6" presStyleCnt="8" custLinFactNeighborY="-6340">
        <dgm:presLayoutVars>
          <dgm:bulletEnabled val="1"/>
        </dgm:presLayoutVars>
      </dgm:prSet>
      <dgm:spPr/>
    </dgm:pt>
    <dgm:pt modelId="{075135B9-E0A6-4138-8979-D30464809E14}" type="pres">
      <dgm:prSet presAssocID="{E591EBE1-D62A-47C6-93E4-B3DF6BD92EF7}" presName="parSpace" presStyleCnt="0"/>
      <dgm:spPr/>
    </dgm:pt>
    <dgm:pt modelId="{4109E786-07E0-4C8D-88A0-15EAC9F813E3}" type="pres">
      <dgm:prSet presAssocID="{4BA06883-3EC1-44F1-8DA0-4A8D3906C15E}" presName="parTxOnly" presStyleLbl="node1" presStyleIdx="7" presStyleCnt="8" custLinFactNeighborY="-6340">
        <dgm:presLayoutVars>
          <dgm:bulletEnabled val="1"/>
        </dgm:presLayoutVars>
      </dgm:prSet>
      <dgm:spPr/>
    </dgm:pt>
  </dgm:ptLst>
  <dgm:cxnLst>
    <dgm:cxn modelId="{6FF6D300-C380-4822-9CC5-679ACC00AC3D}" type="presOf" srcId="{4FAD3F94-C053-427D-AFC5-C97919B6599A}" destId="{9E204D48-F193-46A4-9491-0A9034F5A787}" srcOrd="0" destOrd="0" presId="urn:microsoft.com/office/officeart/2005/8/layout/hChevron3"/>
    <dgm:cxn modelId="{0E93FA1D-E703-434E-BBEA-BE46C14392AE}" srcId="{016A5C58-6F10-475B-AD20-F20F8A6A3F62}" destId="{E66FB40C-946E-4DCB-915F-6697C3C8FF34}" srcOrd="3" destOrd="0" parTransId="{4DB35684-870D-467A-9396-A57F8E6F4249}" sibTransId="{5A6D3F57-0368-43F5-BE3D-95AB59469597}"/>
    <dgm:cxn modelId="{A78B4772-BF32-451C-86FF-1EE4BEA41C85}" srcId="{016A5C58-6F10-475B-AD20-F20F8A6A3F62}" destId="{ABD25DA2-7FA7-4724-A504-89E4BF11CADF}" srcOrd="2" destOrd="0" parTransId="{A91EA40C-C480-47D7-9BC6-7FABC4BB598E}" sibTransId="{321C28C8-8E17-477E-A7DD-586E2DE77383}"/>
    <dgm:cxn modelId="{3046E599-A7A9-4BEE-8F91-B0EE665633C2}" srcId="{016A5C58-6F10-475B-AD20-F20F8A6A3F62}" destId="{BDDE903C-B0D3-41A4-A87C-AD5F93F85454}" srcOrd="0" destOrd="0" parTransId="{33A3A7AC-3D1B-4568-9B85-4A696F516EA5}" sibTransId="{2C4F2221-9372-48F1-9363-74F911A90690}"/>
    <dgm:cxn modelId="{70F3749D-96A7-4E24-A53D-106782BDCD4A}" srcId="{016A5C58-6F10-475B-AD20-F20F8A6A3F62}" destId="{4BA06883-3EC1-44F1-8DA0-4A8D3906C15E}" srcOrd="7" destOrd="0" parTransId="{8A03BCEF-CFDD-41B5-BD32-5F52660B9F92}" sibTransId="{5A604114-08B4-4C56-8FD6-52638E847EE8}"/>
    <dgm:cxn modelId="{8529EE9F-873B-4947-BD5F-D278094DB1ED}" type="presOf" srcId="{5CD19421-3BF8-4BAA-BC94-C651140DB1CE}" destId="{87AFEA20-F8EC-44D9-AFC9-9CEEB1C8F633}" srcOrd="0" destOrd="0" presId="urn:microsoft.com/office/officeart/2005/8/layout/hChevron3"/>
    <dgm:cxn modelId="{AC87D3A2-9CCF-4958-9A3E-6FE252882F89}" type="presOf" srcId="{87BDEA1D-635E-4ABC-8E3A-0B3D74138DD5}" destId="{8716042C-279E-445F-9D73-431CE59149B3}" srcOrd="0" destOrd="0" presId="urn:microsoft.com/office/officeart/2005/8/layout/hChevron3"/>
    <dgm:cxn modelId="{51CC0CAE-B2F6-49EF-8872-7E2C3AD965A9}" srcId="{016A5C58-6F10-475B-AD20-F20F8A6A3F62}" destId="{788D83F9-12F3-435F-9AC6-CADDCF0D9496}" srcOrd="6" destOrd="0" parTransId="{EE1B5DBC-5FE9-4DFF-B69C-291BDBC58863}" sibTransId="{E591EBE1-D62A-47C6-93E4-B3DF6BD92EF7}"/>
    <dgm:cxn modelId="{34B7EBB2-4AED-459D-AA77-DF7CE66FA8C2}" srcId="{016A5C58-6F10-475B-AD20-F20F8A6A3F62}" destId="{4FAD3F94-C053-427D-AFC5-C97919B6599A}" srcOrd="4" destOrd="0" parTransId="{56A4E656-2A52-4162-AB60-A2104CB8A6BC}" sibTransId="{E801593A-5256-41D3-AEED-B93EFECA0175}"/>
    <dgm:cxn modelId="{C8929BB4-605B-4C25-A1BC-155D84F90863}" type="presOf" srcId="{4BA06883-3EC1-44F1-8DA0-4A8D3906C15E}" destId="{4109E786-07E0-4C8D-88A0-15EAC9F813E3}" srcOrd="0" destOrd="0" presId="urn:microsoft.com/office/officeart/2005/8/layout/hChevron3"/>
    <dgm:cxn modelId="{5223B0C8-3338-4FC6-8C1F-8C084474FB66}" type="presOf" srcId="{BDDE903C-B0D3-41A4-A87C-AD5F93F85454}" destId="{8CB61470-A8BE-45AF-B568-030F78BD9C71}" srcOrd="0" destOrd="0" presId="urn:microsoft.com/office/officeart/2005/8/layout/hChevron3"/>
    <dgm:cxn modelId="{38CEECC8-4CDF-45F0-9F10-237458F28257}" type="presOf" srcId="{E66FB40C-946E-4DCB-915F-6697C3C8FF34}" destId="{269FDA00-C630-4A00-98B1-AD0A61EE7CEA}" srcOrd="0" destOrd="0" presId="urn:microsoft.com/office/officeart/2005/8/layout/hChevron3"/>
    <dgm:cxn modelId="{4538F5CC-0F8F-430B-BEDE-D8D205F0D15C}" type="presOf" srcId="{788D83F9-12F3-435F-9AC6-CADDCF0D9496}" destId="{0116E7F4-F10C-4A6D-A83C-A0747C4128E4}" srcOrd="0" destOrd="0" presId="urn:microsoft.com/office/officeart/2005/8/layout/hChevron3"/>
    <dgm:cxn modelId="{3D0EE6CD-72BF-4016-BE93-A8269B0A5A12}" type="presOf" srcId="{016A5C58-6F10-475B-AD20-F20F8A6A3F62}" destId="{EC90D3A8-6A0E-469F-9237-35315AD1A0D1}" srcOrd="0" destOrd="0" presId="urn:microsoft.com/office/officeart/2005/8/layout/hChevron3"/>
    <dgm:cxn modelId="{8EE9B7D0-E7C8-4B07-B995-A7BB4D0A85EA}" type="presOf" srcId="{ABD25DA2-7FA7-4724-A504-89E4BF11CADF}" destId="{FEDD17B4-F6C8-4605-BC6B-8DAB5C1B20C6}" srcOrd="0" destOrd="0" presId="urn:microsoft.com/office/officeart/2005/8/layout/hChevron3"/>
    <dgm:cxn modelId="{2D3F6FDF-FA60-4856-8071-C623D75ABF5B}" srcId="{016A5C58-6F10-475B-AD20-F20F8A6A3F62}" destId="{87BDEA1D-635E-4ABC-8E3A-0B3D74138DD5}" srcOrd="5" destOrd="0" parTransId="{CF4EA680-C79C-49B4-8F4E-3BA1C5CC6388}" sibTransId="{6CD717ED-2194-4412-9C4E-646D516950EB}"/>
    <dgm:cxn modelId="{B63865E1-2D7C-4D52-9BF1-40BB4C0D744E}" srcId="{016A5C58-6F10-475B-AD20-F20F8A6A3F62}" destId="{5CD19421-3BF8-4BAA-BC94-C651140DB1CE}" srcOrd="1" destOrd="0" parTransId="{1ED880C6-5DD5-4474-83E0-93DD8D9FFA63}" sibTransId="{A73698A2-6489-4E7F-9E3B-AA019EF7D72F}"/>
    <dgm:cxn modelId="{E9A381DA-A013-4D83-A378-C41214B88955}" type="presParOf" srcId="{EC90D3A8-6A0E-469F-9237-35315AD1A0D1}" destId="{8CB61470-A8BE-45AF-B568-030F78BD9C71}" srcOrd="0" destOrd="0" presId="urn:microsoft.com/office/officeart/2005/8/layout/hChevron3"/>
    <dgm:cxn modelId="{FFB41BDB-6F22-4A73-AE1E-D3D9232D7159}" type="presParOf" srcId="{EC90D3A8-6A0E-469F-9237-35315AD1A0D1}" destId="{A5C2DB88-C06F-4A1F-A102-C29FFAFE029B}" srcOrd="1" destOrd="0" presId="urn:microsoft.com/office/officeart/2005/8/layout/hChevron3"/>
    <dgm:cxn modelId="{5EFD6631-D042-4E67-ACE6-75964E62652A}" type="presParOf" srcId="{EC90D3A8-6A0E-469F-9237-35315AD1A0D1}" destId="{87AFEA20-F8EC-44D9-AFC9-9CEEB1C8F633}" srcOrd="2" destOrd="0" presId="urn:microsoft.com/office/officeart/2005/8/layout/hChevron3"/>
    <dgm:cxn modelId="{48A33ECF-7CD4-4B14-9EAA-1FC0EC587A23}" type="presParOf" srcId="{EC90D3A8-6A0E-469F-9237-35315AD1A0D1}" destId="{0006E6F9-1FC9-43C4-A4BF-9C588E7EC57C}" srcOrd="3" destOrd="0" presId="urn:microsoft.com/office/officeart/2005/8/layout/hChevron3"/>
    <dgm:cxn modelId="{7772B4FF-3517-4181-8253-D304386129BD}" type="presParOf" srcId="{EC90D3A8-6A0E-469F-9237-35315AD1A0D1}" destId="{FEDD17B4-F6C8-4605-BC6B-8DAB5C1B20C6}" srcOrd="4" destOrd="0" presId="urn:microsoft.com/office/officeart/2005/8/layout/hChevron3"/>
    <dgm:cxn modelId="{BC57CAE0-FF54-40E0-9AC1-7E02E5291416}" type="presParOf" srcId="{EC90D3A8-6A0E-469F-9237-35315AD1A0D1}" destId="{9F5D31C2-FEE4-48A5-89C2-6904259DD5CF}" srcOrd="5" destOrd="0" presId="urn:microsoft.com/office/officeart/2005/8/layout/hChevron3"/>
    <dgm:cxn modelId="{BC9D6B4C-601D-41D9-AF64-759B5A2F4CF5}" type="presParOf" srcId="{EC90D3A8-6A0E-469F-9237-35315AD1A0D1}" destId="{269FDA00-C630-4A00-98B1-AD0A61EE7CEA}" srcOrd="6" destOrd="0" presId="urn:microsoft.com/office/officeart/2005/8/layout/hChevron3"/>
    <dgm:cxn modelId="{70544E76-4C5A-4480-9282-4895732A0EEB}" type="presParOf" srcId="{EC90D3A8-6A0E-469F-9237-35315AD1A0D1}" destId="{51E7065D-EDA9-4A37-98C0-9533A086547F}" srcOrd="7" destOrd="0" presId="urn:microsoft.com/office/officeart/2005/8/layout/hChevron3"/>
    <dgm:cxn modelId="{F14E3AB9-1415-43ED-AA40-F86AB84D640D}" type="presParOf" srcId="{EC90D3A8-6A0E-469F-9237-35315AD1A0D1}" destId="{9E204D48-F193-46A4-9491-0A9034F5A787}" srcOrd="8" destOrd="0" presId="urn:microsoft.com/office/officeart/2005/8/layout/hChevron3"/>
    <dgm:cxn modelId="{348B81D0-7881-49BF-A45C-67A1EFA0A735}" type="presParOf" srcId="{EC90D3A8-6A0E-469F-9237-35315AD1A0D1}" destId="{A6CC8A81-CFA3-4CB8-B2C5-18F47C83C96E}" srcOrd="9" destOrd="0" presId="urn:microsoft.com/office/officeart/2005/8/layout/hChevron3"/>
    <dgm:cxn modelId="{3E9F74F8-47B5-4957-9F2E-3D390CB695EB}" type="presParOf" srcId="{EC90D3A8-6A0E-469F-9237-35315AD1A0D1}" destId="{8716042C-279E-445F-9D73-431CE59149B3}" srcOrd="10" destOrd="0" presId="urn:microsoft.com/office/officeart/2005/8/layout/hChevron3"/>
    <dgm:cxn modelId="{8F4A72D0-373C-4594-9391-33792A7011E5}" type="presParOf" srcId="{EC90D3A8-6A0E-469F-9237-35315AD1A0D1}" destId="{B2738546-915D-49F7-A04E-4FD2662DE796}" srcOrd="11" destOrd="0" presId="urn:microsoft.com/office/officeart/2005/8/layout/hChevron3"/>
    <dgm:cxn modelId="{F2EFA6B0-4AB3-4681-911D-2AC5C73B9F6F}" type="presParOf" srcId="{EC90D3A8-6A0E-469F-9237-35315AD1A0D1}" destId="{0116E7F4-F10C-4A6D-A83C-A0747C4128E4}" srcOrd="12" destOrd="0" presId="urn:microsoft.com/office/officeart/2005/8/layout/hChevron3"/>
    <dgm:cxn modelId="{F79520A7-E2D3-44D7-8122-0BFEADA9F466}" type="presParOf" srcId="{EC90D3A8-6A0E-469F-9237-35315AD1A0D1}" destId="{075135B9-E0A6-4138-8979-D30464809E14}" srcOrd="13" destOrd="0" presId="urn:microsoft.com/office/officeart/2005/8/layout/hChevron3"/>
    <dgm:cxn modelId="{BF5356DA-51B5-49DB-A8A9-A715B39EC63C}" type="presParOf" srcId="{EC90D3A8-6A0E-469F-9237-35315AD1A0D1}" destId="{4109E786-07E0-4C8D-88A0-15EAC9F813E3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16A5C58-6F10-475B-AD20-F20F8A6A3F62}" type="doc">
      <dgm:prSet loTypeId="urn:microsoft.com/office/officeart/2005/8/layout/hChevron3" loCatId="process" qsTypeId="urn:microsoft.com/office/officeart/2005/8/quickstyle/simple2" qsCatId="simple" csTypeId="urn:microsoft.com/office/officeart/2005/8/colors/accent1_5" csCatId="accent1" phldr="1"/>
      <dgm:spPr/>
    </dgm:pt>
    <dgm:pt modelId="{BDDE903C-B0D3-41A4-A87C-AD5F93F85454}">
      <dgm:prSet phldrT="[Text]" custT="1"/>
      <dgm:spPr/>
      <dgm:t>
        <a:bodyPr/>
        <a:lstStyle/>
        <a:p>
          <a:r>
            <a:rPr lang="en-IN" sz="1200" b="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>
              <a:solidFill>
                <a:schemeClr val="accent5">
                  <a:lumMod val="75000"/>
                </a:schemeClr>
              </a:solidFill>
            </a:rPr>
            <a:t> </a:t>
          </a:r>
        </a:p>
      </dgm:t>
    </dgm:pt>
    <dgm:pt modelId="{33A3A7AC-3D1B-4568-9B85-4A696F516EA5}" type="parTrans" cxnId="{3046E599-A7A9-4BEE-8F91-B0EE665633C2}">
      <dgm:prSet/>
      <dgm:spPr/>
      <dgm:t>
        <a:bodyPr/>
        <a:lstStyle/>
        <a:p>
          <a:endParaRPr lang="en-IN"/>
        </a:p>
      </dgm:t>
    </dgm:pt>
    <dgm:pt modelId="{2C4F2221-9372-48F1-9363-74F911A90690}" type="sibTrans" cxnId="{3046E599-A7A9-4BEE-8F91-B0EE665633C2}">
      <dgm:prSet/>
      <dgm:spPr/>
      <dgm:t>
        <a:bodyPr/>
        <a:lstStyle/>
        <a:p>
          <a:endParaRPr lang="en-IN"/>
        </a:p>
      </dgm:t>
    </dgm:pt>
    <dgm:pt modelId="{5CD19421-3BF8-4BAA-BC94-C651140DB1CE}">
      <dgm:prSet phldrT="[Text]" custT="1"/>
      <dgm:spPr/>
      <dgm:t>
        <a:bodyPr/>
        <a:lstStyle/>
        <a:p>
          <a:pPr algn="ctr"/>
          <a:r>
            <a:rPr lang="en-IN" sz="1200" b="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>
              <a:solidFill>
                <a:schemeClr val="accent5">
                  <a:lumMod val="75000"/>
                </a:schemeClr>
              </a:solidFill>
            </a:rPr>
            <a:t>NE</a:t>
          </a:r>
        </a:p>
      </dgm:t>
    </dgm:pt>
    <dgm:pt modelId="{1ED880C6-5DD5-4474-83E0-93DD8D9FFA63}" type="parTrans" cxnId="{B63865E1-2D7C-4D52-9BF1-40BB4C0D744E}">
      <dgm:prSet/>
      <dgm:spPr/>
      <dgm:t>
        <a:bodyPr/>
        <a:lstStyle/>
        <a:p>
          <a:endParaRPr lang="en-IN"/>
        </a:p>
      </dgm:t>
    </dgm:pt>
    <dgm:pt modelId="{A73698A2-6489-4E7F-9E3B-AA019EF7D72F}" type="sibTrans" cxnId="{B63865E1-2D7C-4D52-9BF1-40BB4C0D744E}">
      <dgm:prSet/>
      <dgm:spPr/>
      <dgm:t>
        <a:bodyPr/>
        <a:lstStyle/>
        <a:p>
          <a:endParaRPr lang="en-IN"/>
        </a:p>
      </dgm:t>
    </dgm:pt>
    <dgm:pt modelId="{ABD25DA2-7FA7-4724-A504-89E4BF11CADF}">
      <dgm:prSet phldrT="[Text]"/>
      <dgm:spPr>
        <a:solidFill>
          <a:schemeClr val="tx1">
            <a:alpha val="78571"/>
          </a:schemeClr>
        </a:solidFill>
      </dgm:spPr>
      <dgm:t>
        <a:bodyPr/>
        <a:lstStyle/>
        <a:p>
          <a:pPr algn="l"/>
          <a:r>
            <a:rPr lang="en-IN" b="1">
              <a:solidFill>
                <a:schemeClr val="bg1"/>
              </a:solidFill>
            </a:rPr>
            <a:t>    Our consumers</a:t>
          </a:r>
        </a:p>
      </dgm:t>
    </dgm:pt>
    <dgm:pt modelId="{A91EA40C-C480-47D7-9BC6-7FABC4BB598E}" type="parTrans" cxnId="{A78B4772-BF32-451C-86FF-1EE4BEA41C85}">
      <dgm:prSet/>
      <dgm:spPr/>
      <dgm:t>
        <a:bodyPr/>
        <a:lstStyle/>
        <a:p>
          <a:endParaRPr lang="en-IN"/>
        </a:p>
      </dgm:t>
    </dgm:pt>
    <dgm:pt modelId="{321C28C8-8E17-477E-A7DD-586E2DE77383}" type="sibTrans" cxnId="{A78B4772-BF32-451C-86FF-1EE4BEA41C85}">
      <dgm:prSet/>
      <dgm:spPr/>
      <dgm:t>
        <a:bodyPr/>
        <a:lstStyle/>
        <a:p>
          <a:endParaRPr lang="en-IN"/>
        </a:p>
      </dgm:t>
    </dgm:pt>
    <dgm:pt modelId="{E66FB40C-946E-4DCB-915F-6697C3C8FF34}">
      <dgm:prSet phldrT="[Text]" custT="1"/>
      <dgm:spPr/>
      <dgm:t>
        <a:bodyPr/>
        <a:lstStyle/>
        <a:p>
          <a:pPr algn="l"/>
          <a:r>
            <a:rPr lang="en-IN" sz="105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gm:t>
    </dgm:pt>
    <dgm:pt modelId="{4DB35684-870D-467A-9396-A57F8E6F4249}" type="parTrans" cxnId="{0E93FA1D-E703-434E-BBEA-BE46C14392AE}">
      <dgm:prSet/>
      <dgm:spPr/>
      <dgm:t>
        <a:bodyPr/>
        <a:lstStyle/>
        <a:p>
          <a:endParaRPr lang="en-IN"/>
        </a:p>
      </dgm:t>
    </dgm:pt>
    <dgm:pt modelId="{5A6D3F57-0368-43F5-BE3D-95AB59469597}" type="sibTrans" cxnId="{0E93FA1D-E703-434E-BBEA-BE46C14392AE}">
      <dgm:prSet/>
      <dgm:spPr/>
      <dgm:t>
        <a:bodyPr/>
        <a:lstStyle/>
        <a:p>
          <a:endParaRPr lang="en-IN"/>
        </a:p>
      </dgm:t>
    </dgm:pt>
    <dgm:pt modelId="{4FAD3F94-C053-427D-AFC5-C97919B6599A}">
      <dgm:prSet phldrT="[Text]"/>
      <dgm:spPr/>
      <dgm:t>
        <a:bodyPr/>
        <a:lstStyle/>
        <a:p>
          <a:r>
            <a:rPr lang="en-IN" b="0">
              <a:solidFill>
                <a:schemeClr val="accent5">
                  <a:lumMod val="75000"/>
                </a:schemeClr>
              </a:solidFill>
            </a:rPr>
            <a:t>ESG analysis</a:t>
          </a:r>
        </a:p>
      </dgm:t>
    </dgm:pt>
    <dgm:pt modelId="{56A4E656-2A52-4162-AB60-A2104CB8A6BC}" type="parTrans" cxnId="{34B7EBB2-4AED-459D-AA77-DF7CE66FA8C2}">
      <dgm:prSet/>
      <dgm:spPr/>
      <dgm:t>
        <a:bodyPr/>
        <a:lstStyle/>
        <a:p>
          <a:endParaRPr lang="en-IN"/>
        </a:p>
      </dgm:t>
    </dgm:pt>
    <dgm:pt modelId="{E801593A-5256-41D3-AEED-B93EFECA0175}" type="sibTrans" cxnId="{34B7EBB2-4AED-459D-AA77-DF7CE66FA8C2}">
      <dgm:prSet/>
      <dgm:spPr/>
      <dgm:t>
        <a:bodyPr/>
        <a:lstStyle/>
        <a:p>
          <a:endParaRPr lang="en-IN"/>
        </a:p>
      </dgm:t>
    </dgm:pt>
    <dgm:pt modelId="{87BDEA1D-635E-4ABC-8E3A-0B3D74138DD5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ere we play?</a:t>
          </a:r>
        </a:p>
      </dgm:t>
    </dgm:pt>
    <dgm:pt modelId="{CF4EA680-C79C-49B4-8F4E-3BA1C5CC6388}" type="parTrans" cxnId="{2D3F6FDF-FA60-4856-8071-C623D75ABF5B}">
      <dgm:prSet/>
      <dgm:spPr/>
      <dgm:t>
        <a:bodyPr/>
        <a:lstStyle/>
        <a:p>
          <a:endParaRPr lang="en-IN"/>
        </a:p>
      </dgm:t>
    </dgm:pt>
    <dgm:pt modelId="{6CD717ED-2194-4412-9C4E-646D516950EB}" type="sibTrans" cxnId="{2D3F6FDF-FA60-4856-8071-C623D75ABF5B}">
      <dgm:prSet/>
      <dgm:spPr/>
      <dgm:t>
        <a:bodyPr/>
        <a:lstStyle/>
        <a:p>
          <a:endParaRPr lang="en-IN"/>
        </a:p>
      </dgm:t>
    </dgm:pt>
    <dgm:pt modelId="{788D83F9-12F3-435F-9AC6-CADDCF0D9496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Financials</a:t>
          </a:r>
        </a:p>
      </dgm:t>
    </dgm:pt>
    <dgm:pt modelId="{EE1B5DBC-5FE9-4DFF-B69C-291BDBC58863}" type="parTrans" cxnId="{51CC0CAE-B2F6-49EF-8872-7E2C3AD965A9}">
      <dgm:prSet/>
      <dgm:spPr/>
      <dgm:t>
        <a:bodyPr/>
        <a:lstStyle/>
        <a:p>
          <a:endParaRPr lang="en-IN"/>
        </a:p>
      </dgm:t>
    </dgm:pt>
    <dgm:pt modelId="{E591EBE1-D62A-47C6-93E4-B3DF6BD92EF7}" type="sibTrans" cxnId="{51CC0CAE-B2F6-49EF-8872-7E2C3AD965A9}">
      <dgm:prSet/>
      <dgm:spPr/>
      <dgm:t>
        <a:bodyPr/>
        <a:lstStyle/>
        <a:p>
          <a:endParaRPr lang="en-IN"/>
        </a:p>
      </dgm:t>
    </dgm:pt>
    <dgm:pt modelId="{4BA06883-3EC1-44F1-8DA0-4A8D3906C15E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>
            <a:solidFill>
              <a:schemeClr val="accent5">
                <a:lumMod val="75000"/>
              </a:schemeClr>
            </a:solidFill>
          </a:endParaRPr>
        </a:p>
      </dgm:t>
    </dgm:pt>
    <dgm:pt modelId="{8A03BCEF-CFDD-41B5-BD32-5F52660B9F92}" type="parTrans" cxnId="{70F3749D-96A7-4E24-A53D-106782BDCD4A}">
      <dgm:prSet/>
      <dgm:spPr/>
      <dgm:t>
        <a:bodyPr/>
        <a:lstStyle/>
        <a:p>
          <a:endParaRPr lang="en-IN"/>
        </a:p>
      </dgm:t>
    </dgm:pt>
    <dgm:pt modelId="{5A604114-08B4-4C56-8FD6-52638E847EE8}" type="sibTrans" cxnId="{70F3749D-96A7-4E24-A53D-106782BDCD4A}">
      <dgm:prSet/>
      <dgm:spPr/>
      <dgm:t>
        <a:bodyPr/>
        <a:lstStyle/>
        <a:p>
          <a:endParaRPr lang="en-IN"/>
        </a:p>
      </dgm:t>
    </dgm:pt>
    <dgm:pt modelId="{EC90D3A8-6A0E-469F-9237-35315AD1A0D1}" type="pres">
      <dgm:prSet presAssocID="{016A5C58-6F10-475B-AD20-F20F8A6A3F62}" presName="Name0" presStyleCnt="0">
        <dgm:presLayoutVars>
          <dgm:dir/>
          <dgm:resizeHandles val="exact"/>
        </dgm:presLayoutVars>
      </dgm:prSet>
      <dgm:spPr/>
    </dgm:pt>
    <dgm:pt modelId="{8CB61470-A8BE-45AF-B568-030F78BD9C71}" type="pres">
      <dgm:prSet presAssocID="{BDDE903C-B0D3-41A4-A87C-AD5F93F85454}" presName="parTxOnly" presStyleLbl="node1" presStyleIdx="0" presStyleCnt="8" custLinFactNeighborX="-425" custLinFactNeighborY="-64414">
        <dgm:presLayoutVars>
          <dgm:bulletEnabled val="1"/>
        </dgm:presLayoutVars>
      </dgm:prSet>
      <dgm:spPr/>
    </dgm:pt>
    <dgm:pt modelId="{A5C2DB88-C06F-4A1F-A102-C29FFAFE029B}" type="pres">
      <dgm:prSet presAssocID="{2C4F2221-9372-48F1-9363-74F911A90690}" presName="parSpace" presStyleCnt="0"/>
      <dgm:spPr/>
    </dgm:pt>
    <dgm:pt modelId="{87AFEA20-F8EC-44D9-AFC9-9CEEB1C8F633}" type="pres">
      <dgm:prSet presAssocID="{5CD19421-3BF8-4BAA-BC94-C651140DB1CE}" presName="parTxOnly" presStyleLbl="node1" presStyleIdx="1" presStyleCnt="8">
        <dgm:presLayoutVars>
          <dgm:bulletEnabled val="1"/>
        </dgm:presLayoutVars>
      </dgm:prSet>
      <dgm:spPr/>
    </dgm:pt>
    <dgm:pt modelId="{0006E6F9-1FC9-43C4-A4BF-9C588E7EC57C}" type="pres">
      <dgm:prSet presAssocID="{A73698A2-6489-4E7F-9E3B-AA019EF7D72F}" presName="parSpace" presStyleCnt="0"/>
      <dgm:spPr/>
    </dgm:pt>
    <dgm:pt modelId="{FEDD17B4-F6C8-4605-BC6B-8DAB5C1B20C6}" type="pres">
      <dgm:prSet presAssocID="{ABD25DA2-7FA7-4724-A504-89E4BF11CADF}" presName="parTxOnly" presStyleLbl="node1" presStyleIdx="2" presStyleCnt="8" custLinFactNeighborY="-6340">
        <dgm:presLayoutVars>
          <dgm:bulletEnabled val="1"/>
        </dgm:presLayoutVars>
      </dgm:prSet>
      <dgm:spPr/>
    </dgm:pt>
    <dgm:pt modelId="{9F5D31C2-FEE4-48A5-89C2-6904259DD5CF}" type="pres">
      <dgm:prSet presAssocID="{321C28C8-8E17-477E-A7DD-586E2DE77383}" presName="parSpace" presStyleCnt="0"/>
      <dgm:spPr/>
    </dgm:pt>
    <dgm:pt modelId="{269FDA00-C630-4A00-98B1-AD0A61EE7CEA}" type="pres">
      <dgm:prSet presAssocID="{E66FB40C-946E-4DCB-915F-6697C3C8FF34}" presName="parTxOnly" presStyleLbl="node1" presStyleIdx="3" presStyleCnt="8" custLinFactNeighborY="-6340">
        <dgm:presLayoutVars>
          <dgm:bulletEnabled val="1"/>
        </dgm:presLayoutVars>
      </dgm:prSet>
      <dgm:spPr/>
    </dgm:pt>
    <dgm:pt modelId="{51E7065D-EDA9-4A37-98C0-9533A086547F}" type="pres">
      <dgm:prSet presAssocID="{5A6D3F57-0368-43F5-BE3D-95AB59469597}" presName="parSpace" presStyleCnt="0"/>
      <dgm:spPr/>
    </dgm:pt>
    <dgm:pt modelId="{9E204D48-F193-46A4-9491-0A9034F5A787}" type="pres">
      <dgm:prSet presAssocID="{4FAD3F94-C053-427D-AFC5-C97919B6599A}" presName="parTxOnly" presStyleLbl="node1" presStyleIdx="4" presStyleCnt="8" custLinFactNeighborY="-6340">
        <dgm:presLayoutVars>
          <dgm:bulletEnabled val="1"/>
        </dgm:presLayoutVars>
      </dgm:prSet>
      <dgm:spPr/>
    </dgm:pt>
    <dgm:pt modelId="{A6CC8A81-CFA3-4CB8-B2C5-18F47C83C96E}" type="pres">
      <dgm:prSet presAssocID="{E801593A-5256-41D3-AEED-B93EFECA0175}" presName="parSpace" presStyleCnt="0"/>
      <dgm:spPr/>
    </dgm:pt>
    <dgm:pt modelId="{8716042C-279E-445F-9D73-431CE59149B3}" type="pres">
      <dgm:prSet presAssocID="{87BDEA1D-635E-4ABC-8E3A-0B3D74138DD5}" presName="parTxOnly" presStyleLbl="node1" presStyleIdx="5" presStyleCnt="8" custLinFactNeighborY="-6340">
        <dgm:presLayoutVars>
          <dgm:bulletEnabled val="1"/>
        </dgm:presLayoutVars>
      </dgm:prSet>
      <dgm:spPr/>
    </dgm:pt>
    <dgm:pt modelId="{B2738546-915D-49F7-A04E-4FD2662DE796}" type="pres">
      <dgm:prSet presAssocID="{6CD717ED-2194-4412-9C4E-646D516950EB}" presName="parSpace" presStyleCnt="0"/>
      <dgm:spPr/>
    </dgm:pt>
    <dgm:pt modelId="{0116E7F4-F10C-4A6D-A83C-A0747C4128E4}" type="pres">
      <dgm:prSet presAssocID="{788D83F9-12F3-435F-9AC6-CADDCF0D9496}" presName="parTxOnly" presStyleLbl="node1" presStyleIdx="6" presStyleCnt="8" custLinFactNeighborY="-6340">
        <dgm:presLayoutVars>
          <dgm:bulletEnabled val="1"/>
        </dgm:presLayoutVars>
      </dgm:prSet>
      <dgm:spPr/>
    </dgm:pt>
    <dgm:pt modelId="{075135B9-E0A6-4138-8979-D30464809E14}" type="pres">
      <dgm:prSet presAssocID="{E591EBE1-D62A-47C6-93E4-B3DF6BD92EF7}" presName="parSpace" presStyleCnt="0"/>
      <dgm:spPr/>
    </dgm:pt>
    <dgm:pt modelId="{4109E786-07E0-4C8D-88A0-15EAC9F813E3}" type="pres">
      <dgm:prSet presAssocID="{4BA06883-3EC1-44F1-8DA0-4A8D3906C15E}" presName="parTxOnly" presStyleLbl="node1" presStyleIdx="7" presStyleCnt="8" custLinFactNeighborY="-6340">
        <dgm:presLayoutVars>
          <dgm:bulletEnabled val="1"/>
        </dgm:presLayoutVars>
      </dgm:prSet>
      <dgm:spPr/>
    </dgm:pt>
  </dgm:ptLst>
  <dgm:cxnLst>
    <dgm:cxn modelId="{6FF6D300-C380-4822-9CC5-679ACC00AC3D}" type="presOf" srcId="{4FAD3F94-C053-427D-AFC5-C97919B6599A}" destId="{9E204D48-F193-46A4-9491-0A9034F5A787}" srcOrd="0" destOrd="0" presId="urn:microsoft.com/office/officeart/2005/8/layout/hChevron3"/>
    <dgm:cxn modelId="{0E93FA1D-E703-434E-BBEA-BE46C14392AE}" srcId="{016A5C58-6F10-475B-AD20-F20F8A6A3F62}" destId="{E66FB40C-946E-4DCB-915F-6697C3C8FF34}" srcOrd="3" destOrd="0" parTransId="{4DB35684-870D-467A-9396-A57F8E6F4249}" sibTransId="{5A6D3F57-0368-43F5-BE3D-95AB59469597}"/>
    <dgm:cxn modelId="{A78B4772-BF32-451C-86FF-1EE4BEA41C85}" srcId="{016A5C58-6F10-475B-AD20-F20F8A6A3F62}" destId="{ABD25DA2-7FA7-4724-A504-89E4BF11CADF}" srcOrd="2" destOrd="0" parTransId="{A91EA40C-C480-47D7-9BC6-7FABC4BB598E}" sibTransId="{321C28C8-8E17-477E-A7DD-586E2DE77383}"/>
    <dgm:cxn modelId="{3046E599-A7A9-4BEE-8F91-B0EE665633C2}" srcId="{016A5C58-6F10-475B-AD20-F20F8A6A3F62}" destId="{BDDE903C-B0D3-41A4-A87C-AD5F93F85454}" srcOrd="0" destOrd="0" parTransId="{33A3A7AC-3D1B-4568-9B85-4A696F516EA5}" sibTransId="{2C4F2221-9372-48F1-9363-74F911A90690}"/>
    <dgm:cxn modelId="{70F3749D-96A7-4E24-A53D-106782BDCD4A}" srcId="{016A5C58-6F10-475B-AD20-F20F8A6A3F62}" destId="{4BA06883-3EC1-44F1-8DA0-4A8D3906C15E}" srcOrd="7" destOrd="0" parTransId="{8A03BCEF-CFDD-41B5-BD32-5F52660B9F92}" sibTransId="{5A604114-08B4-4C56-8FD6-52638E847EE8}"/>
    <dgm:cxn modelId="{8529EE9F-873B-4947-BD5F-D278094DB1ED}" type="presOf" srcId="{5CD19421-3BF8-4BAA-BC94-C651140DB1CE}" destId="{87AFEA20-F8EC-44D9-AFC9-9CEEB1C8F633}" srcOrd="0" destOrd="0" presId="urn:microsoft.com/office/officeart/2005/8/layout/hChevron3"/>
    <dgm:cxn modelId="{AC87D3A2-9CCF-4958-9A3E-6FE252882F89}" type="presOf" srcId="{87BDEA1D-635E-4ABC-8E3A-0B3D74138DD5}" destId="{8716042C-279E-445F-9D73-431CE59149B3}" srcOrd="0" destOrd="0" presId="urn:microsoft.com/office/officeart/2005/8/layout/hChevron3"/>
    <dgm:cxn modelId="{51CC0CAE-B2F6-49EF-8872-7E2C3AD965A9}" srcId="{016A5C58-6F10-475B-AD20-F20F8A6A3F62}" destId="{788D83F9-12F3-435F-9AC6-CADDCF0D9496}" srcOrd="6" destOrd="0" parTransId="{EE1B5DBC-5FE9-4DFF-B69C-291BDBC58863}" sibTransId="{E591EBE1-D62A-47C6-93E4-B3DF6BD92EF7}"/>
    <dgm:cxn modelId="{34B7EBB2-4AED-459D-AA77-DF7CE66FA8C2}" srcId="{016A5C58-6F10-475B-AD20-F20F8A6A3F62}" destId="{4FAD3F94-C053-427D-AFC5-C97919B6599A}" srcOrd="4" destOrd="0" parTransId="{56A4E656-2A52-4162-AB60-A2104CB8A6BC}" sibTransId="{E801593A-5256-41D3-AEED-B93EFECA0175}"/>
    <dgm:cxn modelId="{C8929BB4-605B-4C25-A1BC-155D84F90863}" type="presOf" srcId="{4BA06883-3EC1-44F1-8DA0-4A8D3906C15E}" destId="{4109E786-07E0-4C8D-88A0-15EAC9F813E3}" srcOrd="0" destOrd="0" presId="urn:microsoft.com/office/officeart/2005/8/layout/hChevron3"/>
    <dgm:cxn modelId="{5223B0C8-3338-4FC6-8C1F-8C084474FB66}" type="presOf" srcId="{BDDE903C-B0D3-41A4-A87C-AD5F93F85454}" destId="{8CB61470-A8BE-45AF-B568-030F78BD9C71}" srcOrd="0" destOrd="0" presId="urn:microsoft.com/office/officeart/2005/8/layout/hChevron3"/>
    <dgm:cxn modelId="{38CEECC8-4CDF-45F0-9F10-237458F28257}" type="presOf" srcId="{E66FB40C-946E-4DCB-915F-6697C3C8FF34}" destId="{269FDA00-C630-4A00-98B1-AD0A61EE7CEA}" srcOrd="0" destOrd="0" presId="urn:microsoft.com/office/officeart/2005/8/layout/hChevron3"/>
    <dgm:cxn modelId="{4538F5CC-0F8F-430B-BEDE-D8D205F0D15C}" type="presOf" srcId="{788D83F9-12F3-435F-9AC6-CADDCF0D9496}" destId="{0116E7F4-F10C-4A6D-A83C-A0747C4128E4}" srcOrd="0" destOrd="0" presId="urn:microsoft.com/office/officeart/2005/8/layout/hChevron3"/>
    <dgm:cxn modelId="{3D0EE6CD-72BF-4016-BE93-A8269B0A5A12}" type="presOf" srcId="{016A5C58-6F10-475B-AD20-F20F8A6A3F62}" destId="{EC90D3A8-6A0E-469F-9237-35315AD1A0D1}" srcOrd="0" destOrd="0" presId="urn:microsoft.com/office/officeart/2005/8/layout/hChevron3"/>
    <dgm:cxn modelId="{8EE9B7D0-E7C8-4B07-B995-A7BB4D0A85EA}" type="presOf" srcId="{ABD25DA2-7FA7-4724-A504-89E4BF11CADF}" destId="{FEDD17B4-F6C8-4605-BC6B-8DAB5C1B20C6}" srcOrd="0" destOrd="0" presId="urn:microsoft.com/office/officeart/2005/8/layout/hChevron3"/>
    <dgm:cxn modelId="{2D3F6FDF-FA60-4856-8071-C623D75ABF5B}" srcId="{016A5C58-6F10-475B-AD20-F20F8A6A3F62}" destId="{87BDEA1D-635E-4ABC-8E3A-0B3D74138DD5}" srcOrd="5" destOrd="0" parTransId="{CF4EA680-C79C-49B4-8F4E-3BA1C5CC6388}" sibTransId="{6CD717ED-2194-4412-9C4E-646D516950EB}"/>
    <dgm:cxn modelId="{B63865E1-2D7C-4D52-9BF1-40BB4C0D744E}" srcId="{016A5C58-6F10-475B-AD20-F20F8A6A3F62}" destId="{5CD19421-3BF8-4BAA-BC94-C651140DB1CE}" srcOrd="1" destOrd="0" parTransId="{1ED880C6-5DD5-4474-83E0-93DD8D9FFA63}" sibTransId="{A73698A2-6489-4E7F-9E3B-AA019EF7D72F}"/>
    <dgm:cxn modelId="{E9A381DA-A013-4D83-A378-C41214B88955}" type="presParOf" srcId="{EC90D3A8-6A0E-469F-9237-35315AD1A0D1}" destId="{8CB61470-A8BE-45AF-B568-030F78BD9C71}" srcOrd="0" destOrd="0" presId="urn:microsoft.com/office/officeart/2005/8/layout/hChevron3"/>
    <dgm:cxn modelId="{FFB41BDB-6F22-4A73-AE1E-D3D9232D7159}" type="presParOf" srcId="{EC90D3A8-6A0E-469F-9237-35315AD1A0D1}" destId="{A5C2DB88-C06F-4A1F-A102-C29FFAFE029B}" srcOrd="1" destOrd="0" presId="urn:microsoft.com/office/officeart/2005/8/layout/hChevron3"/>
    <dgm:cxn modelId="{5EFD6631-D042-4E67-ACE6-75964E62652A}" type="presParOf" srcId="{EC90D3A8-6A0E-469F-9237-35315AD1A0D1}" destId="{87AFEA20-F8EC-44D9-AFC9-9CEEB1C8F633}" srcOrd="2" destOrd="0" presId="urn:microsoft.com/office/officeart/2005/8/layout/hChevron3"/>
    <dgm:cxn modelId="{48A33ECF-7CD4-4B14-9EAA-1FC0EC587A23}" type="presParOf" srcId="{EC90D3A8-6A0E-469F-9237-35315AD1A0D1}" destId="{0006E6F9-1FC9-43C4-A4BF-9C588E7EC57C}" srcOrd="3" destOrd="0" presId="urn:microsoft.com/office/officeart/2005/8/layout/hChevron3"/>
    <dgm:cxn modelId="{7772B4FF-3517-4181-8253-D304386129BD}" type="presParOf" srcId="{EC90D3A8-6A0E-469F-9237-35315AD1A0D1}" destId="{FEDD17B4-F6C8-4605-BC6B-8DAB5C1B20C6}" srcOrd="4" destOrd="0" presId="urn:microsoft.com/office/officeart/2005/8/layout/hChevron3"/>
    <dgm:cxn modelId="{BC57CAE0-FF54-40E0-9AC1-7E02E5291416}" type="presParOf" srcId="{EC90D3A8-6A0E-469F-9237-35315AD1A0D1}" destId="{9F5D31C2-FEE4-48A5-89C2-6904259DD5CF}" srcOrd="5" destOrd="0" presId="urn:microsoft.com/office/officeart/2005/8/layout/hChevron3"/>
    <dgm:cxn modelId="{BC9D6B4C-601D-41D9-AF64-759B5A2F4CF5}" type="presParOf" srcId="{EC90D3A8-6A0E-469F-9237-35315AD1A0D1}" destId="{269FDA00-C630-4A00-98B1-AD0A61EE7CEA}" srcOrd="6" destOrd="0" presId="urn:microsoft.com/office/officeart/2005/8/layout/hChevron3"/>
    <dgm:cxn modelId="{70544E76-4C5A-4480-9282-4895732A0EEB}" type="presParOf" srcId="{EC90D3A8-6A0E-469F-9237-35315AD1A0D1}" destId="{51E7065D-EDA9-4A37-98C0-9533A086547F}" srcOrd="7" destOrd="0" presId="urn:microsoft.com/office/officeart/2005/8/layout/hChevron3"/>
    <dgm:cxn modelId="{F14E3AB9-1415-43ED-AA40-F86AB84D640D}" type="presParOf" srcId="{EC90D3A8-6A0E-469F-9237-35315AD1A0D1}" destId="{9E204D48-F193-46A4-9491-0A9034F5A787}" srcOrd="8" destOrd="0" presId="urn:microsoft.com/office/officeart/2005/8/layout/hChevron3"/>
    <dgm:cxn modelId="{348B81D0-7881-49BF-A45C-67A1EFA0A735}" type="presParOf" srcId="{EC90D3A8-6A0E-469F-9237-35315AD1A0D1}" destId="{A6CC8A81-CFA3-4CB8-B2C5-18F47C83C96E}" srcOrd="9" destOrd="0" presId="urn:microsoft.com/office/officeart/2005/8/layout/hChevron3"/>
    <dgm:cxn modelId="{3E9F74F8-47B5-4957-9F2E-3D390CB695EB}" type="presParOf" srcId="{EC90D3A8-6A0E-469F-9237-35315AD1A0D1}" destId="{8716042C-279E-445F-9D73-431CE59149B3}" srcOrd="10" destOrd="0" presId="urn:microsoft.com/office/officeart/2005/8/layout/hChevron3"/>
    <dgm:cxn modelId="{8F4A72D0-373C-4594-9391-33792A7011E5}" type="presParOf" srcId="{EC90D3A8-6A0E-469F-9237-35315AD1A0D1}" destId="{B2738546-915D-49F7-A04E-4FD2662DE796}" srcOrd="11" destOrd="0" presId="urn:microsoft.com/office/officeart/2005/8/layout/hChevron3"/>
    <dgm:cxn modelId="{F2EFA6B0-4AB3-4681-911D-2AC5C73B9F6F}" type="presParOf" srcId="{EC90D3A8-6A0E-469F-9237-35315AD1A0D1}" destId="{0116E7F4-F10C-4A6D-A83C-A0747C4128E4}" srcOrd="12" destOrd="0" presId="urn:microsoft.com/office/officeart/2005/8/layout/hChevron3"/>
    <dgm:cxn modelId="{F79520A7-E2D3-44D7-8122-0BFEADA9F466}" type="presParOf" srcId="{EC90D3A8-6A0E-469F-9237-35315AD1A0D1}" destId="{075135B9-E0A6-4138-8979-D30464809E14}" srcOrd="13" destOrd="0" presId="urn:microsoft.com/office/officeart/2005/8/layout/hChevron3"/>
    <dgm:cxn modelId="{BF5356DA-51B5-49DB-A8A9-A715B39EC63C}" type="presParOf" srcId="{EC90D3A8-6A0E-469F-9237-35315AD1A0D1}" destId="{4109E786-07E0-4C8D-88A0-15EAC9F813E3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16A5C58-6F10-475B-AD20-F20F8A6A3F62}" type="doc">
      <dgm:prSet loTypeId="urn:microsoft.com/office/officeart/2005/8/layout/hChevron3" loCatId="process" qsTypeId="urn:microsoft.com/office/officeart/2005/8/quickstyle/simple2" qsCatId="simple" csTypeId="urn:microsoft.com/office/officeart/2005/8/colors/accent1_5" csCatId="accent1" phldr="1"/>
      <dgm:spPr/>
    </dgm:pt>
    <dgm:pt modelId="{BDDE903C-B0D3-41A4-A87C-AD5F93F85454}">
      <dgm:prSet phldrT="[Text]" custT="1"/>
      <dgm:spPr/>
      <dgm:t>
        <a:bodyPr/>
        <a:lstStyle/>
        <a:p>
          <a:r>
            <a:rPr lang="en-IN" sz="1200" b="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>
              <a:solidFill>
                <a:schemeClr val="accent5">
                  <a:lumMod val="75000"/>
                </a:schemeClr>
              </a:solidFill>
            </a:rPr>
            <a:t> </a:t>
          </a:r>
        </a:p>
      </dgm:t>
    </dgm:pt>
    <dgm:pt modelId="{33A3A7AC-3D1B-4568-9B85-4A696F516EA5}" type="parTrans" cxnId="{3046E599-A7A9-4BEE-8F91-B0EE665633C2}">
      <dgm:prSet/>
      <dgm:spPr/>
      <dgm:t>
        <a:bodyPr/>
        <a:lstStyle/>
        <a:p>
          <a:endParaRPr lang="en-IN"/>
        </a:p>
      </dgm:t>
    </dgm:pt>
    <dgm:pt modelId="{2C4F2221-9372-48F1-9363-74F911A90690}" type="sibTrans" cxnId="{3046E599-A7A9-4BEE-8F91-B0EE665633C2}">
      <dgm:prSet/>
      <dgm:spPr/>
      <dgm:t>
        <a:bodyPr/>
        <a:lstStyle/>
        <a:p>
          <a:endParaRPr lang="en-IN"/>
        </a:p>
      </dgm:t>
    </dgm:pt>
    <dgm:pt modelId="{5CD19421-3BF8-4BAA-BC94-C651140DB1CE}">
      <dgm:prSet phldrT="[Text]" custT="1"/>
      <dgm:spPr/>
      <dgm:t>
        <a:bodyPr/>
        <a:lstStyle/>
        <a:p>
          <a:pPr algn="ctr"/>
          <a:r>
            <a:rPr lang="en-IN" sz="1200" b="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>
              <a:solidFill>
                <a:schemeClr val="accent5">
                  <a:lumMod val="75000"/>
                </a:schemeClr>
              </a:solidFill>
            </a:rPr>
            <a:t>NE</a:t>
          </a:r>
        </a:p>
      </dgm:t>
    </dgm:pt>
    <dgm:pt modelId="{1ED880C6-5DD5-4474-83E0-93DD8D9FFA63}" type="parTrans" cxnId="{B63865E1-2D7C-4D52-9BF1-40BB4C0D744E}">
      <dgm:prSet/>
      <dgm:spPr/>
      <dgm:t>
        <a:bodyPr/>
        <a:lstStyle/>
        <a:p>
          <a:endParaRPr lang="en-IN"/>
        </a:p>
      </dgm:t>
    </dgm:pt>
    <dgm:pt modelId="{A73698A2-6489-4E7F-9E3B-AA019EF7D72F}" type="sibTrans" cxnId="{B63865E1-2D7C-4D52-9BF1-40BB4C0D744E}">
      <dgm:prSet/>
      <dgm:spPr/>
      <dgm:t>
        <a:bodyPr/>
        <a:lstStyle/>
        <a:p>
          <a:endParaRPr lang="en-IN"/>
        </a:p>
      </dgm:t>
    </dgm:pt>
    <dgm:pt modelId="{ABD25DA2-7FA7-4724-A504-89E4BF11CADF}">
      <dgm:prSet phldrT="[Text]"/>
      <dgm:spPr/>
      <dgm:t>
        <a:bodyPr/>
        <a:lstStyle/>
        <a:p>
          <a:pPr algn="l"/>
          <a:r>
            <a:rPr lang="en-IN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gm:t>
    </dgm:pt>
    <dgm:pt modelId="{A91EA40C-C480-47D7-9BC6-7FABC4BB598E}" type="parTrans" cxnId="{A78B4772-BF32-451C-86FF-1EE4BEA41C85}">
      <dgm:prSet/>
      <dgm:spPr/>
      <dgm:t>
        <a:bodyPr/>
        <a:lstStyle/>
        <a:p>
          <a:endParaRPr lang="en-IN"/>
        </a:p>
      </dgm:t>
    </dgm:pt>
    <dgm:pt modelId="{321C28C8-8E17-477E-A7DD-586E2DE77383}" type="sibTrans" cxnId="{A78B4772-BF32-451C-86FF-1EE4BEA41C85}">
      <dgm:prSet/>
      <dgm:spPr/>
      <dgm:t>
        <a:bodyPr/>
        <a:lstStyle/>
        <a:p>
          <a:endParaRPr lang="en-IN"/>
        </a:p>
      </dgm:t>
    </dgm:pt>
    <dgm:pt modelId="{E66FB40C-946E-4DCB-915F-6697C3C8FF34}">
      <dgm:prSet phldrT="[Text]" custT="1"/>
      <dgm:spPr>
        <a:solidFill>
          <a:schemeClr val="tx1">
            <a:alpha val="72857"/>
          </a:schemeClr>
        </a:solidFill>
      </dgm:spPr>
      <dgm:t>
        <a:bodyPr/>
        <a:lstStyle/>
        <a:p>
          <a:pPr algn="l"/>
          <a:r>
            <a:rPr lang="en-IN" sz="1050" b="1">
              <a:solidFill>
                <a:schemeClr val="bg1"/>
              </a:solidFill>
            </a:rPr>
            <a:t>Presenting MODIVA</a:t>
          </a:r>
        </a:p>
      </dgm:t>
    </dgm:pt>
    <dgm:pt modelId="{4DB35684-870D-467A-9396-A57F8E6F4249}" type="parTrans" cxnId="{0E93FA1D-E703-434E-BBEA-BE46C14392AE}">
      <dgm:prSet/>
      <dgm:spPr/>
      <dgm:t>
        <a:bodyPr/>
        <a:lstStyle/>
        <a:p>
          <a:endParaRPr lang="en-IN"/>
        </a:p>
      </dgm:t>
    </dgm:pt>
    <dgm:pt modelId="{5A6D3F57-0368-43F5-BE3D-95AB59469597}" type="sibTrans" cxnId="{0E93FA1D-E703-434E-BBEA-BE46C14392AE}">
      <dgm:prSet/>
      <dgm:spPr/>
      <dgm:t>
        <a:bodyPr/>
        <a:lstStyle/>
        <a:p>
          <a:endParaRPr lang="en-IN"/>
        </a:p>
      </dgm:t>
    </dgm:pt>
    <dgm:pt modelId="{4FAD3F94-C053-427D-AFC5-C97919B6599A}">
      <dgm:prSet phldrT="[Text]"/>
      <dgm:spPr/>
      <dgm:t>
        <a:bodyPr/>
        <a:lstStyle/>
        <a:p>
          <a:r>
            <a:rPr lang="en-IN" b="0">
              <a:solidFill>
                <a:schemeClr val="accent5">
                  <a:lumMod val="75000"/>
                </a:schemeClr>
              </a:solidFill>
            </a:rPr>
            <a:t>ESG analysis</a:t>
          </a:r>
        </a:p>
      </dgm:t>
    </dgm:pt>
    <dgm:pt modelId="{56A4E656-2A52-4162-AB60-A2104CB8A6BC}" type="parTrans" cxnId="{34B7EBB2-4AED-459D-AA77-DF7CE66FA8C2}">
      <dgm:prSet/>
      <dgm:spPr/>
      <dgm:t>
        <a:bodyPr/>
        <a:lstStyle/>
        <a:p>
          <a:endParaRPr lang="en-IN"/>
        </a:p>
      </dgm:t>
    </dgm:pt>
    <dgm:pt modelId="{E801593A-5256-41D3-AEED-B93EFECA0175}" type="sibTrans" cxnId="{34B7EBB2-4AED-459D-AA77-DF7CE66FA8C2}">
      <dgm:prSet/>
      <dgm:spPr/>
      <dgm:t>
        <a:bodyPr/>
        <a:lstStyle/>
        <a:p>
          <a:endParaRPr lang="en-IN"/>
        </a:p>
      </dgm:t>
    </dgm:pt>
    <dgm:pt modelId="{87BDEA1D-635E-4ABC-8E3A-0B3D74138DD5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ere we play?</a:t>
          </a:r>
        </a:p>
      </dgm:t>
    </dgm:pt>
    <dgm:pt modelId="{CF4EA680-C79C-49B4-8F4E-3BA1C5CC6388}" type="parTrans" cxnId="{2D3F6FDF-FA60-4856-8071-C623D75ABF5B}">
      <dgm:prSet/>
      <dgm:spPr/>
      <dgm:t>
        <a:bodyPr/>
        <a:lstStyle/>
        <a:p>
          <a:endParaRPr lang="en-IN"/>
        </a:p>
      </dgm:t>
    </dgm:pt>
    <dgm:pt modelId="{6CD717ED-2194-4412-9C4E-646D516950EB}" type="sibTrans" cxnId="{2D3F6FDF-FA60-4856-8071-C623D75ABF5B}">
      <dgm:prSet/>
      <dgm:spPr/>
      <dgm:t>
        <a:bodyPr/>
        <a:lstStyle/>
        <a:p>
          <a:endParaRPr lang="en-IN"/>
        </a:p>
      </dgm:t>
    </dgm:pt>
    <dgm:pt modelId="{788D83F9-12F3-435F-9AC6-CADDCF0D9496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Financials</a:t>
          </a:r>
        </a:p>
      </dgm:t>
    </dgm:pt>
    <dgm:pt modelId="{EE1B5DBC-5FE9-4DFF-B69C-291BDBC58863}" type="parTrans" cxnId="{51CC0CAE-B2F6-49EF-8872-7E2C3AD965A9}">
      <dgm:prSet/>
      <dgm:spPr/>
      <dgm:t>
        <a:bodyPr/>
        <a:lstStyle/>
        <a:p>
          <a:endParaRPr lang="en-IN"/>
        </a:p>
      </dgm:t>
    </dgm:pt>
    <dgm:pt modelId="{E591EBE1-D62A-47C6-93E4-B3DF6BD92EF7}" type="sibTrans" cxnId="{51CC0CAE-B2F6-49EF-8872-7E2C3AD965A9}">
      <dgm:prSet/>
      <dgm:spPr/>
      <dgm:t>
        <a:bodyPr/>
        <a:lstStyle/>
        <a:p>
          <a:endParaRPr lang="en-IN"/>
        </a:p>
      </dgm:t>
    </dgm:pt>
    <dgm:pt modelId="{4BA06883-3EC1-44F1-8DA0-4A8D3906C15E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>
            <a:solidFill>
              <a:schemeClr val="accent5">
                <a:lumMod val="75000"/>
              </a:schemeClr>
            </a:solidFill>
          </a:endParaRPr>
        </a:p>
      </dgm:t>
    </dgm:pt>
    <dgm:pt modelId="{8A03BCEF-CFDD-41B5-BD32-5F52660B9F92}" type="parTrans" cxnId="{70F3749D-96A7-4E24-A53D-106782BDCD4A}">
      <dgm:prSet/>
      <dgm:spPr/>
      <dgm:t>
        <a:bodyPr/>
        <a:lstStyle/>
        <a:p>
          <a:endParaRPr lang="en-IN"/>
        </a:p>
      </dgm:t>
    </dgm:pt>
    <dgm:pt modelId="{5A604114-08B4-4C56-8FD6-52638E847EE8}" type="sibTrans" cxnId="{70F3749D-96A7-4E24-A53D-106782BDCD4A}">
      <dgm:prSet/>
      <dgm:spPr/>
      <dgm:t>
        <a:bodyPr/>
        <a:lstStyle/>
        <a:p>
          <a:endParaRPr lang="en-IN"/>
        </a:p>
      </dgm:t>
    </dgm:pt>
    <dgm:pt modelId="{EC90D3A8-6A0E-469F-9237-35315AD1A0D1}" type="pres">
      <dgm:prSet presAssocID="{016A5C58-6F10-475B-AD20-F20F8A6A3F62}" presName="Name0" presStyleCnt="0">
        <dgm:presLayoutVars>
          <dgm:dir/>
          <dgm:resizeHandles val="exact"/>
        </dgm:presLayoutVars>
      </dgm:prSet>
      <dgm:spPr/>
    </dgm:pt>
    <dgm:pt modelId="{8CB61470-A8BE-45AF-B568-030F78BD9C71}" type="pres">
      <dgm:prSet presAssocID="{BDDE903C-B0D3-41A4-A87C-AD5F93F85454}" presName="parTxOnly" presStyleLbl="node1" presStyleIdx="0" presStyleCnt="8" custLinFactNeighborX="-425" custLinFactNeighborY="-64414">
        <dgm:presLayoutVars>
          <dgm:bulletEnabled val="1"/>
        </dgm:presLayoutVars>
      </dgm:prSet>
      <dgm:spPr/>
    </dgm:pt>
    <dgm:pt modelId="{A5C2DB88-C06F-4A1F-A102-C29FFAFE029B}" type="pres">
      <dgm:prSet presAssocID="{2C4F2221-9372-48F1-9363-74F911A90690}" presName="parSpace" presStyleCnt="0"/>
      <dgm:spPr/>
    </dgm:pt>
    <dgm:pt modelId="{87AFEA20-F8EC-44D9-AFC9-9CEEB1C8F633}" type="pres">
      <dgm:prSet presAssocID="{5CD19421-3BF8-4BAA-BC94-C651140DB1CE}" presName="parTxOnly" presStyleLbl="node1" presStyleIdx="1" presStyleCnt="8">
        <dgm:presLayoutVars>
          <dgm:bulletEnabled val="1"/>
        </dgm:presLayoutVars>
      </dgm:prSet>
      <dgm:spPr/>
    </dgm:pt>
    <dgm:pt modelId="{0006E6F9-1FC9-43C4-A4BF-9C588E7EC57C}" type="pres">
      <dgm:prSet presAssocID="{A73698A2-6489-4E7F-9E3B-AA019EF7D72F}" presName="parSpace" presStyleCnt="0"/>
      <dgm:spPr/>
    </dgm:pt>
    <dgm:pt modelId="{FEDD17B4-F6C8-4605-BC6B-8DAB5C1B20C6}" type="pres">
      <dgm:prSet presAssocID="{ABD25DA2-7FA7-4724-A504-89E4BF11CADF}" presName="parTxOnly" presStyleLbl="node1" presStyleIdx="2" presStyleCnt="8" custLinFactNeighborY="-6340">
        <dgm:presLayoutVars>
          <dgm:bulletEnabled val="1"/>
        </dgm:presLayoutVars>
      </dgm:prSet>
      <dgm:spPr/>
    </dgm:pt>
    <dgm:pt modelId="{9F5D31C2-FEE4-48A5-89C2-6904259DD5CF}" type="pres">
      <dgm:prSet presAssocID="{321C28C8-8E17-477E-A7DD-586E2DE77383}" presName="parSpace" presStyleCnt="0"/>
      <dgm:spPr/>
    </dgm:pt>
    <dgm:pt modelId="{269FDA00-C630-4A00-98B1-AD0A61EE7CEA}" type="pres">
      <dgm:prSet presAssocID="{E66FB40C-946E-4DCB-915F-6697C3C8FF34}" presName="parTxOnly" presStyleLbl="node1" presStyleIdx="3" presStyleCnt="8" custLinFactNeighborY="-6340">
        <dgm:presLayoutVars>
          <dgm:bulletEnabled val="1"/>
        </dgm:presLayoutVars>
      </dgm:prSet>
      <dgm:spPr/>
    </dgm:pt>
    <dgm:pt modelId="{51E7065D-EDA9-4A37-98C0-9533A086547F}" type="pres">
      <dgm:prSet presAssocID="{5A6D3F57-0368-43F5-BE3D-95AB59469597}" presName="parSpace" presStyleCnt="0"/>
      <dgm:spPr/>
    </dgm:pt>
    <dgm:pt modelId="{9E204D48-F193-46A4-9491-0A9034F5A787}" type="pres">
      <dgm:prSet presAssocID="{4FAD3F94-C053-427D-AFC5-C97919B6599A}" presName="parTxOnly" presStyleLbl="node1" presStyleIdx="4" presStyleCnt="8" custLinFactNeighborY="-6340">
        <dgm:presLayoutVars>
          <dgm:bulletEnabled val="1"/>
        </dgm:presLayoutVars>
      </dgm:prSet>
      <dgm:spPr/>
    </dgm:pt>
    <dgm:pt modelId="{A6CC8A81-CFA3-4CB8-B2C5-18F47C83C96E}" type="pres">
      <dgm:prSet presAssocID="{E801593A-5256-41D3-AEED-B93EFECA0175}" presName="parSpace" presStyleCnt="0"/>
      <dgm:spPr/>
    </dgm:pt>
    <dgm:pt modelId="{8716042C-279E-445F-9D73-431CE59149B3}" type="pres">
      <dgm:prSet presAssocID="{87BDEA1D-635E-4ABC-8E3A-0B3D74138DD5}" presName="parTxOnly" presStyleLbl="node1" presStyleIdx="5" presStyleCnt="8" custLinFactNeighborY="-6340">
        <dgm:presLayoutVars>
          <dgm:bulletEnabled val="1"/>
        </dgm:presLayoutVars>
      </dgm:prSet>
      <dgm:spPr/>
    </dgm:pt>
    <dgm:pt modelId="{B2738546-915D-49F7-A04E-4FD2662DE796}" type="pres">
      <dgm:prSet presAssocID="{6CD717ED-2194-4412-9C4E-646D516950EB}" presName="parSpace" presStyleCnt="0"/>
      <dgm:spPr/>
    </dgm:pt>
    <dgm:pt modelId="{0116E7F4-F10C-4A6D-A83C-A0747C4128E4}" type="pres">
      <dgm:prSet presAssocID="{788D83F9-12F3-435F-9AC6-CADDCF0D9496}" presName="parTxOnly" presStyleLbl="node1" presStyleIdx="6" presStyleCnt="8" custLinFactNeighborY="-6340">
        <dgm:presLayoutVars>
          <dgm:bulletEnabled val="1"/>
        </dgm:presLayoutVars>
      </dgm:prSet>
      <dgm:spPr/>
    </dgm:pt>
    <dgm:pt modelId="{075135B9-E0A6-4138-8979-D30464809E14}" type="pres">
      <dgm:prSet presAssocID="{E591EBE1-D62A-47C6-93E4-B3DF6BD92EF7}" presName="parSpace" presStyleCnt="0"/>
      <dgm:spPr/>
    </dgm:pt>
    <dgm:pt modelId="{4109E786-07E0-4C8D-88A0-15EAC9F813E3}" type="pres">
      <dgm:prSet presAssocID="{4BA06883-3EC1-44F1-8DA0-4A8D3906C15E}" presName="parTxOnly" presStyleLbl="node1" presStyleIdx="7" presStyleCnt="8" custLinFactNeighborY="-6340">
        <dgm:presLayoutVars>
          <dgm:bulletEnabled val="1"/>
        </dgm:presLayoutVars>
      </dgm:prSet>
      <dgm:spPr/>
    </dgm:pt>
  </dgm:ptLst>
  <dgm:cxnLst>
    <dgm:cxn modelId="{6FF6D300-C380-4822-9CC5-679ACC00AC3D}" type="presOf" srcId="{4FAD3F94-C053-427D-AFC5-C97919B6599A}" destId="{9E204D48-F193-46A4-9491-0A9034F5A787}" srcOrd="0" destOrd="0" presId="urn:microsoft.com/office/officeart/2005/8/layout/hChevron3"/>
    <dgm:cxn modelId="{0E93FA1D-E703-434E-BBEA-BE46C14392AE}" srcId="{016A5C58-6F10-475B-AD20-F20F8A6A3F62}" destId="{E66FB40C-946E-4DCB-915F-6697C3C8FF34}" srcOrd="3" destOrd="0" parTransId="{4DB35684-870D-467A-9396-A57F8E6F4249}" sibTransId="{5A6D3F57-0368-43F5-BE3D-95AB59469597}"/>
    <dgm:cxn modelId="{A78B4772-BF32-451C-86FF-1EE4BEA41C85}" srcId="{016A5C58-6F10-475B-AD20-F20F8A6A3F62}" destId="{ABD25DA2-7FA7-4724-A504-89E4BF11CADF}" srcOrd="2" destOrd="0" parTransId="{A91EA40C-C480-47D7-9BC6-7FABC4BB598E}" sibTransId="{321C28C8-8E17-477E-A7DD-586E2DE77383}"/>
    <dgm:cxn modelId="{3046E599-A7A9-4BEE-8F91-B0EE665633C2}" srcId="{016A5C58-6F10-475B-AD20-F20F8A6A3F62}" destId="{BDDE903C-B0D3-41A4-A87C-AD5F93F85454}" srcOrd="0" destOrd="0" parTransId="{33A3A7AC-3D1B-4568-9B85-4A696F516EA5}" sibTransId="{2C4F2221-9372-48F1-9363-74F911A90690}"/>
    <dgm:cxn modelId="{70F3749D-96A7-4E24-A53D-106782BDCD4A}" srcId="{016A5C58-6F10-475B-AD20-F20F8A6A3F62}" destId="{4BA06883-3EC1-44F1-8DA0-4A8D3906C15E}" srcOrd="7" destOrd="0" parTransId="{8A03BCEF-CFDD-41B5-BD32-5F52660B9F92}" sibTransId="{5A604114-08B4-4C56-8FD6-52638E847EE8}"/>
    <dgm:cxn modelId="{8529EE9F-873B-4947-BD5F-D278094DB1ED}" type="presOf" srcId="{5CD19421-3BF8-4BAA-BC94-C651140DB1CE}" destId="{87AFEA20-F8EC-44D9-AFC9-9CEEB1C8F633}" srcOrd="0" destOrd="0" presId="urn:microsoft.com/office/officeart/2005/8/layout/hChevron3"/>
    <dgm:cxn modelId="{AC87D3A2-9CCF-4958-9A3E-6FE252882F89}" type="presOf" srcId="{87BDEA1D-635E-4ABC-8E3A-0B3D74138DD5}" destId="{8716042C-279E-445F-9D73-431CE59149B3}" srcOrd="0" destOrd="0" presId="urn:microsoft.com/office/officeart/2005/8/layout/hChevron3"/>
    <dgm:cxn modelId="{51CC0CAE-B2F6-49EF-8872-7E2C3AD965A9}" srcId="{016A5C58-6F10-475B-AD20-F20F8A6A3F62}" destId="{788D83F9-12F3-435F-9AC6-CADDCF0D9496}" srcOrd="6" destOrd="0" parTransId="{EE1B5DBC-5FE9-4DFF-B69C-291BDBC58863}" sibTransId="{E591EBE1-D62A-47C6-93E4-B3DF6BD92EF7}"/>
    <dgm:cxn modelId="{34B7EBB2-4AED-459D-AA77-DF7CE66FA8C2}" srcId="{016A5C58-6F10-475B-AD20-F20F8A6A3F62}" destId="{4FAD3F94-C053-427D-AFC5-C97919B6599A}" srcOrd="4" destOrd="0" parTransId="{56A4E656-2A52-4162-AB60-A2104CB8A6BC}" sibTransId="{E801593A-5256-41D3-AEED-B93EFECA0175}"/>
    <dgm:cxn modelId="{C8929BB4-605B-4C25-A1BC-155D84F90863}" type="presOf" srcId="{4BA06883-3EC1-44F1-8DA0-4A8D3906C15E}" destId="{4109E786-07E0-4C8D-88A0-15EAC9F813E3}" srcOrd="0" destOrd="0" presId="urn:microsoft.com/office/officeart/2005/8/layout/hChevron3"/>
    <dgm:cxn modelId="{5223B0C8-3338-4FC6-8C1F-8C084474FB66}" type="presOf" srcId="{BDDE903C-B0D3-41A4-A87C-AD5F93F85454}" destId="{8CB61470-A8BE-45AF-B568-030F78BD9C71}" srcOrd="0" destOrd="0" presId="urn:microsoft.com/office/officeart/2005/8/layout/hChevron3"/>
    <dgm:cxn modelId="{38CEECC8-4CDF-45F0-9F10-237458F28257}" type="presOf" srcId="{E66FB40C-946E-4DCB-915F-6697C3C8FF34}" destId="{269FDA00-C630-4A00-98B1-AD0A61EE7CEA}" srcOrd="0" destOrd="0" presId="urn:microsoft.com/office/officeart/2005/8/layout/hChevron3"/>
    <dgm:cxn modelId="{4538F5CC-0F8F-430B-BEDE-D8D205F0D15C}" type="presOf" srcId="{788D83F9-12F3-435F-9AC6-CADDCF0D9496}" destId="{0116E7F4-F10C-4A6D-A83C-A0747C4128E4}" srcOrd="0" destOrd="0" presId="urn:microsoft.com/office/officeart/2005/8/layout/hChevron3"/>
    <dgm:cxn modelId="{3D0EE6CD-72BF-4016-BE93-A8269B0A5A12}" type="presOf" srcId="{016A5C58-6F10-475B-AD20-F20F8A6A3F62}" destId="{EC90D3A8-6A0E-469F-9237-35315AD1A0D1}" srcOrd="0" destOrd="0" presId="urn:microsoft.com/office/officeart/2005/8/layout/hChevron3"/>
    <dgm:cxn modelId="{8EE9B7D0-E7C8-4B07-B995-A7BB4D0A85EA}" type="presOf" srcId="{ABD25DA2-7FA7-4724-A504-89E4BF11CADF}" destId="{FEDD17B4-F6C8-4605-BC6B-8DAB5C1B20C6}" srcOrd="0" destOrd="0" presId="urn:microsoft.com/office/officeart/2005/8/layout/hChevron3"/>
    <dgm:cxn modelId="{2D3F6FDF-FA60-4856-8071-C623D75ABF5B}" srcId="{016A5C58-6F10-475B-AD20-F20F8A6A3F62}" destId="{87BDEA1D-635E-4ABC-8E3A-0B3D74138DD5}" srcOrd="5" destOrd="0" parTransId="{CF4EA680-C79C-49B4-8F4E-3BA1C5CC6388}" sibTransId="{6CD717ED-2194-4412-9C4E-646D516950EB}"/>
    <dgm:cxn modelId="{B63865E1-2D7C-4D52-9BF1-40BB4C0D744E}" srcId="{016A5C58-6F10-475B-AD20-F20F8A6A3F62}" destId="{5CD19421-3BF8-4BAA-BC94-C651140DB1CE}" srcOrd="1" destOrd="0" parTransId="{1ED880C6-5DD5-4474-83E0-93DD8D9FFA63}" sibTransId="{A73698A2-6489-4E7F-9E3B-AA019EF7D72F}"/>
    <dgm:cxn modelId="{E9A381DA-A013-4D83-A378-C41214B88955}" type="presParOf" srcId="{EC90D3A8-6A0E-469F-9237-35315AD1A0D1}" destId="{8CB61470-A8BE-45AF-B568-030F78BD9C71}" srcOrd="0" destOrd="0" presId="urn:microsoft.com/office/officeart/2005/8/layout/hChevron3"/>
    <dgm:cxn modelId="{FFB41BDB-6F22-4A73-AE1E-D3D9232D7159}" type="presParOf" srcId="{EC90D3A8-6A0E-469F-9237-35315AD1A0D1}" destId="{A5C2DB88-C06F-4A1F-A102-C29FFAFE029B}" srcOrd="1" destOrd="0" presId="urn:microsoft.com/office/officeart/2005/8/layout/hChevron3"/>
    <dgm:cxn modelId="{5EFD6631-D042-4E67-ACE6-75964E62652A}" type="presParOf" srcId="{EC90D3A8-6A0E-469F-9237-35315AD1A0D1}" destId="{87AFEA20-F8EC-44D9-AFC9-9CEEB1C8F633}" srcOrd="2" destOrd="0" presId="urn:microsoft.com/office/officeart/2005/8/layout/hChevron3"/>
    <dgm:cxn modelId="{48A33ECF-7CD4-4B14-9EAA-1FC0EC587A23}" type="presParOf" srcId="{EC90D3A8-6A0E-469F-9237-35315AD1A0D1}" destId="{0006E6F9-1FC9-43C4-A4BF-9C588E7EC57C}" srcOrd="3" destOrd="0" presId="urn:microsoft.com/office/officeart/2005/8/layout/hChevron3"/>
    <dgm:cxn modelId="{7772B4FF-3517-4181-8253-D304386129BD}" type="presParOf" srcId="{EC90D3A8-6A0E-469F-9237-35315AD1A0D1}" destId="{FEDD17B4-F6C8-4605-BC6B-8DAB5C1B20C6}" srcOrd="4" destOrd="0" presId="urn:microsoft.com/office/officeart/2005/8/layout/hChevron3"/>
    <dgm:cxn modelId="{BC57CAE0-FF54-40E0-9AC1-7E02E5291416}" type="presParOf" srcId="{EC90D3A8-6A0E-469F-9237-35315AD1A0D1}" destId="{9F5D31C2-FEE4-48A5-89C2-6904259DD5CF}" srcOrd="5" destOrd="0" presId="urn:microsoft.com/office/officeart/2005/8/layout/hChevron3"/>
    <dgm:cxn modelId="{BC9D6B4C-601D-41D9-AF64-759B5A2F4CF5}" type="presParOf" srcId="{EC90D3A8-6A0E-469F-9237-35315AD1A0D1}" destId="{269FDA00-C630-4A00-98B1-AD0A61EE7CEA}" srcOrd="6" destOrd="0" presId="urn:microsoft.com/office/officeart/2005/8/layout/hChevron3"/>
    <dgm:cxn modelId="{70544E76-4C5A-4480-9282-4895732A0EEB}" type="presParOf" srcId="{EC90D3A8-6A0E-469F-9237-35315AD1A0D1}" destId="{51E7065D-EDA9-4A37-98C0-9533A086547F}" srcOrd="7" destOrd="0" presId="urn:microsoft.com/office/officeart/2005/8/layout/hChevron3"/>
    <dgm:cxn modelId="{F14E3AB9-1415-43ED-AA40-F86AB84D640D}" type="presParOf" srcId="{EC90D3A8-6A0E-469F-9237-35315AD1A0D1}" destId="{9E204D48-F193-46A4-9491-0A9034F5A787}" srcOrd="8" destOrd="0" presId="urn:microsoft.com/office/officeart/2005/8/layout/hChevron3"/>
    <dgm:cxn modelId="{348B81D0-7881-49BF-A45C-67A1EFA0A735}" type="presParOf" srcId="{EC90D3A8-6A0E-469F-9237-35315AD1A0D1}" destId="{A6CC8A81-CFA3-4CB8-B2C5-18F47C83C96E}" srcOrd="9" destOrd="0" presId="urn:microsoft.com/office/officeart/2005/8/layout/hChevron3"/>
    <dgm:cxn modelId="{3E9F74F8-47B5-4957-9F2E-3D390CB695EB}" type="presParOf" srcId="{EC90D3A8-6A0E-469F-9237-35315AD1A0D1}" destId="{8716042C-279E-445F-9D73-431CE59149B3}" srcOrd="10" destOrd="0" presId="urn:microsoft.com/office/officeart/2005/8/layout/hChevron3"/>
    <dgm:cxn modelId="{8F4A72D0-373C-4594-9391-33792A7011E5}" type="presParOf" srcId="{EC90D3A8-6A0E-469F-9237-35315AD1A0D1}" destId="{B2738546-915D-49F7-A04E-4FD2662DE796}" srcOrd="11" destOrd="0" presId="urn:microsoft.com/office/officeart/2005/8/layout/hChevron3"/>
    <dgm:cxn modelId="{F2EFA6B0-4AB3-4681-911D-2AC5C73B9F6F}" type="presParOf" srcId="{EC90D3A8-6A0E-469F-9237-35315AD1A0D1}" destId="{0116E7F4-F10C-4A6D-A83C-A0747C4128E4}" srcOrd="12" destOrd="0" presId="urn:microsoft.com/office/officeart/2005/8/layout/hChevron3"/>
    <dgm:cxn modelId="{F79520A7-E2D3-44D7-8122-0BFEADA9F466}" type="presParOf" srcId="{EC90D3A8-6A0E-469F-9237-35315AD1A0D1}" destId="{075135B9-E0A6-4138-8979-D30464809E14}" srcOrd="13" destOrd="0" presId="urn:microsoft.com/office/officeart/2005/8/layout/hChevron3"/>
    <dgm:cxn modelId="{BF5356DA-51B5-49DB-A8A9-A715B39EC63C}" type="presParOf" srcId="{EC90D3A8-6A0E-469F-9237-35315AD1A0D1}" destId="{4109E786-07E0-4C8D-88A0-15EAC9F813E3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16A5C58-6F10-475B-AD20-F20F8A6A3F62}" type="doc">
      <dgm:prSet loTypeId="urn:microsoft.com/office/officeart/2005/8/layout/hChevron3" loCatId="process" qsTypeId="urn:microsoft.com/office/officeart/2005/8/quickstyle/simple2" qsCatId="simple" csTypeId="urn:microsoft.com/office/officeart/2005/8/colors/accent1_5" csCatId="accent1" phldr="1"/>
      <dgm:spPr/>
    </dgm:pt>
    <dgm:pt modelId="{BDDE903C-B0D3-41A4-A87C-AD5F93F85454}">
      <dgm:prSet phldrT="[Text]" custT="1"/>
      <dgm:spPr/>
      <dgm:t>
        <a:bodyPr/>
        <a:lstStyle/>
        <a:p>
          <a:r>
            <a:rPr lang="en-IN" sz="1200" b="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>
              <a:solidFill>
                <a:schemeClr val="accent5">
                  <a:lumMod val="75000"/>
                </a:schemeClr>
              </a:solidFill>
            </a:rPr>
            <a:t> </a:t>
          </a:r>
        </a:p>
      </dgm:t>
    </dgm:pt>
    <dgm:pt modelId="{33A3A7AC-3D1B-4568-9B85-4A696F516EA5}" type="parTrans" cxnId="{3046E599-A7A9-4BEE-8F91-B0EE665633C2}">
      <dgm:prSet/>
      <dgm:spPr/>
      <dgm:t>
        <a:bodyPr/>
        <a:lstStyle/>
        <a:p>
          <a:endParaRPr lang="en-IN"/>
        </a:p>
      </dgm:t>
    </dgm:pt>
    <dgm:pt modelId="{2C4F2221-9372-48F1-9363-74F911A90690}" type="sibTrans" cxnId="{3046E599-A7A9-4BEE-8F91-B0EE665633C2}">
      <dgm:prSet/>
      <dgm:spPr/>
      <dgm:t>
        <a:bodyPr/>
        <a:lstStyle/>
        <a:p>
          <a:endParaRPr lang="en-IN"/>
        </a:p>
      </dgm:t>
    </dgm:pt>
    <dgm:pt modelId="{5CD19421-3BF8-4BAA-BC94-C651140DB1CE}">
      <dgm:prSet phldrT="[Text]" custT="1"/>
      <dgm:spPr/>
      <dgm:t>
        <a:bodyPr/>
        <a:lstStyle/>
        <a:p>
          <a:pPr algn="ctr"/>
          <a:r>
            <a:rPr lang="en-IN" sz="1200" b="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>
              <a:solidFill>
                <a:schemeClr val="accent5">
                  <a:lumMod val="75000"/>
                </a:schemeClr>
              </a:solidFill>
            </a:rPr>
            <a:t>NE</a:t>
          </a:r>
        </a:p>
      </dgm:t>
    </dgm:pt>
    <dgm:pt modelId="{1ED880C6-5DD5-4474-83E0-93DD8D9FFA63}" type="parTrans" cxnId="{B63865E1-2D7C-4D52-9BF1-40BB4C0D744E}">
      <dgm:prSet/>
      <dgm:spPr/>
      <dgm:t>
        <a:bodyPr/>
        <a:lstStyle/>
        <a:p>
          <a:endParaRPr lang="en-IN"/>
        </a:p>
      </dgm:t>
    </dgm:pt>
    <dgm:pt modelId="{A73698A2-6489-4E7F-9E3B-AA019EF7D72F}" type="sibTrans" cxnId="{B63865E1-2D7C-4D52-9BF1-40BB4C0D744E}">
      <dgm:prSet/>
      <dgm:spPr/>
      <dgm:t>
        <a:bodyPr/>
        <a:lstStyle/>
        <a:p>
          <a:endParaRPr lang="en-IN"/>
        </a:p>
      </dgm:t>
    </dgm:pt>
    <dgm:pt modelId="{ABD25DA2-7FA7-4724-A504-89E4BF11CADF}">
      <dgm:prSet phldrT="[Text]"/>
      <dgm:spPr/>
      <dgm:t>
        <a:bodyPr/>
        <a:lstStyle/>
        <a:p>
          <a:pPr algn="l"/>
          <a:r>
            <a:rPr lang="en-IN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gm:t>
    </dgm:pt>
    <dgm:pt modelId="{A91EA40C-C480-47D7-9BC6-7FABC4BB598E}" type="parTrans" cxnId="{A78B4772-BF32-451C-86FF-1EE4BEA41C85}">
      <dgm:prSet/>
      <dgm:spPr/>
      <dgm:t>
        <a:bodyPr/>
        <a:lstStyle/>
        <a:p>
          <a:endParaRPr lang="en-IN"/>
        </a:p>
      </dgm:t>
    </dgm:pt>
    <dgm:pt modelId="{321C28C8-8E17-477E-A7DD-586E2DE77383}" type="sibTrans" cxnId="{A78B4772-BF32-451C-86FF-1EE4BEA41C85}">
      <dgm:prSet/>
      <dgm:spPr/>
      <dgm:t>
        <a:bodyPr/>
        <a:lstStyle/>
        <a:p>
          <a:endParaRPr lang="en-IN"/>
        </a:p>
      </dgm:t>
    </dgm:pt>
    <dgm:pt modelId="{E66FB40C-946E-4DCB-915F-6697C3C8FF34}">
      <dgm:prSet phldrT="[Text]" custT="1"/>
      <dgm:spPr/>
      <dgm:t>
        <a:bodyPr/>
        <a:lstStyle/>
        <a:p>
          <a:pPr algn="l"/>
          <a:r>
            <a:rPr lang="en-IN" sz="105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gm:t>
    </dgm:pt>
    <dgm:pt modelId="{4DB35684-870D-467A-9396-A57F8E6F4249}" type="parTrans" cxnId="{0E93FA1D-E703-434E-BBEA-BE46C14392AE}">
      <dgm:prSet/>
      <dgm:spPr/>
      <dgm:t>
        <a:bodyPr/>
        <a:lstStyle/>
        <a:p>
          <a:endParaRPr lang="en-IN"/>
        </a:p>
      </dgm:t>
    </dgm:pt>
    <dgm:pt modelId="{5A6D3F57-0368-43F5-BE3D-95AB59469597}" type="sibTrans" cxnId="{0E93FA1D-E703-434E-BBEA-BE46C14392AE}">
      <dgm:prSet/>
      <dgm:spPr/>
      <dgm:t>
        <a:bodyPr/>
        <a:lstStyle/>
        <a:p>
          <a:endParaRPr lang="en-IN"/>
        </a:p>
      </dgm:t>
    </dgm:pt>
    <dgm:pt modelId="{4FAD3F94-C053-427D-AFC5-C97919B6599A}">
      <dgm:prSet phldrT="[Text]"/>
      <dgm:spPr>
        <a:solidFill>
          <a:schemeClr val="tx1">
            <a:alpha val="67143"/>
          </a:schemeClr>
        </a:solidFill>
      </dgm:spPr>
      <dgm:t>
        <a:bodyPr/>
        <a:lstStyle/>
        <a:p>
          <a:r>
            <a:rPr lang="en-IN" b="1">
              <a:solidFill>
                <a:schemeClr val="bg1"/>
              </a:solidFill>
            </a:rPr>
            <a:t>ESG analysis</a:t>
          </a:r>
        </a:p>
      </dgm:t>
    </dgm:pt>
    <dgm:pt modelId="{56A4E656-2A52-4162-AB60-A2104CB8A6BC}" type="parTrans" cxnId="{34B7EBB2-4AED-459D-AA77-DF7CE66FA8C2}">
      <dgm:prSet/>
      <dgm:spPr/>
      <dgm:t>
        <a:bodyPr/>
        <a:lstStyle/>
        <a:p>
          <a:endParaRPr lang="en-IN"/>
        </a:p>
      </dgm:t>
    </dgm:pt>
    <dgm:pt modelId="{E801593A-5256-41D3-AEED-B93EFECA0175}" type="sibTrans" cxnId="{34B7EBB2-4AED-459D-AA77-DF7CE66FA8C2}">
      <dgm:prSet/>
      <dgm:spPr/>
      <dgm:t>
        <a:bodyPr/>
        <a:lstStyle/>
        <a:p>
          <a:endParaRPr lang="en-IN"/>
        </a:p>
      </dgm:t>
    </dgm:pt>
    <dgm:pt modelId="{87BDEA1D-635E-4ABC-8E3A-0B3D74138DD5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ere we play?</a:t>
          </a:r>
        </a:p>
      </dgm:t>
    </dgm:pt>
    <dgm:pt modelId="{CF4EA680-C79C-49B4-8F4E-3BA1C5CC6388}" type="parTrans" cxnId="{2D3F6FDF-FA60-4856-8071-C623D75ABF5B}">
      <dgm:prSet/>
      <dgm:spPr/>
      <dgm:t>
        <a:bodyPr/>
        <a:lstStyle/>
        <a:p>
          <a:endParaRPr lang="en-IN"/>
        </a:p>
      </dgm:t>
    </dgm:pt>
    <dgm:pt modelId="{6CD717ED-2194-4412-9C4E-646D516950EB}" type="sibTrans" cxnId="{2D3F6FDF-FA60-4856-8071-C623D75ABF5B}">
      <dgm:prSet/>
      <dgm:spPr/>
      <dgm:t>
        <a:bodyPr/>
        <a:lstStyle/>
        <a:p>
          <a:endParaRPr lang="en-IN"/>
        </a:p>
      </dgm:t>
    </dgm:pt>
    <dgm:pt modelId="{788D83F9-12F3-435F-9AC6-CADDCF0D9496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Financials</a:t>
          </a:r>
        </a:p>
      </dgm:t>
    </dgm:pt>
    <dgm:pt modelId="{EE1B5DBC-5FE9-4DFF-B69C-291BDBC58863}" type="parTrans" cxnId="{51CC0CAE-B2F6-49EF-8872-7E2C3AD965A9}">
      <dgm:prSet/>
      <dgm:spPr/>
      <dgm:t>
        <a:bodyPr/>
        <a:lstStyle/>
        <a:p>
          <a:endParaRPr lang="en-IN"/>
        </a:p>
      </dgm:t>
    </dgm:pt>
    <dgm:pt modelId="{E591EBE1-D62A-47C6-93E4-B3DF6BD92EF7}" type="sibTrans" cxnId="{51CC0CAE-B2F6-49EF-8872-7E2C3AD965A9}">
      <dgm:prSet/>
      <dgm:spPr/>
      <dgm:t>
        <a:bodyPr/>
        <a:lstStyle/>
        <a:p>
          <a:endParaRPr lang="en-IN"/>
        </a:p>
      </dgm:t>
    </dgm:pt>
    <dgm:pt modelId="{4BA06883-3EC1-44F1-8DA0-4A8D3906C15E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>
            <a:solidFill>
              <a:schemeClr val="accent5">
                <a:lumMod val="75000"/>
              </a:schemeClr>
            </a:solidFill>
          </a:endParaRPr>
        </a:p>
      </dgm:t>
    </dgm:pt>
    <dgm:pt modelId="{8A03BCEF-CFDD-41B5-BD32-5F52660B9F92}" type="parTrans" cxnId="{70F3749D-96A7-4E24-A53D-106782BDCD4A}">
      <dgm:prSet/>
      <dgm:spPr/>
      <dgm:t>
        <a:bodyPr/>
        <a:lstStyle/>
        <a:p>
          <a:endParaRPr lang="en-IN"/>
        </a:p>
      </dgm:t>
    </dgm:pt>
    <dgm:pt modelId="{5A604114-08B4-4C56-8FD6-52638E847EE8}" type="sibTrans" cxnId="{70F3749D-96A7-4E24-A53D-106782BDCD4A}">
      <dgm:prSet/>
      <dgm:spPr/>
      <dgm:t>
        <a:bodyPr/>
        <a:lstStyle/>
        <a:p>
          <a:endParaRPr lang="en-IN"/>
        </a:p>
      </dgm:t>
    </dgm:pt>
    <dgm:pt modelId="{EC90D3A8-6A0E-469F-9237-35315AD1A0D1}" type="pres">
      <dgm:prSet presAssocID="{016A5C58-6F10-475B-AD20-F20F8A6A3F62}" presName="Name0" presStyleCnt="0">
        <dgm:presLayoutVars>
          <dgm:dir/>
          <dgm:resizeHandles val="exact"/>
        </dgm:presLayoutVars>
      </dgm:prSet>
      <dgm:spPr/>
    </dgm:pt>
    <dgm:pt modelId="{8CB61470-A8BE-45AF-B568-030F78BD9C71}" type="pres">
      <dgm:prSet presAssocID="{BDDE903C-B0D3-41A4-A87C-AD5F93F85454}" presName="parTxOnly" presStyleLbl="node1" presStyleIdx="0" presStyleCnt="8" custLinFactNeighborX="-425" custLinFactNeighborY="-64414">
        <dgm:presLayoutVars>
          <dgm:bulletEnabled val="1"/>
        </dgm:presLayoutVars>
      </dgm:prSet>
      <dgm:spPr/>
    </dgm:pt>
    <dgm:pt modelId="{A5C2DB88-C06F-4A1F-A102-C29FFAFE029B}" type="pres">
      <dgm:prSet presAssocID="{2C4F2221-9372-48F1-9363-74F911A90690}" presName="parSpace" presStyleCnt="0"/>
      <dgm:spPr/>
    </dgm:pt>
    <dgm:pt modelId="{87AFEA20-F8EC-44D9-AFC9-9CEEB1C8F633}" type="pres">
      <dgm:prSet presAssocID="{5CD19421-3BF8-4BAA-BC94-C651140DB1CE}" presName="parTxOnly" presStyleLbl="node1" presStyleIdx="1" presStyleCnt="8">
        <dgm:presLayoutVars>
          <dgm:bulletEnabled val="1"/>
        </dgm:presLayoutVars>
      </dgm:prSet>
      <dgm:spPr/>
    </dgm:pt>
    <dgm:pt modelId="{0006E6F9-1FC9-43C4-A4BF-9C588E7EC57C}" type="pres">
      <dgm:prSet presAssocID="{A73698A2-6489-4E7F-9E3B-AA019EF7D72F}" presName="parSpace" presStyleCnt="0"/>
      <dgm:spPr/>
    </dgm:pt>
    <dgm:pt modelId="{FEDD17B4-F6C8-4605-BC6B-8DAB5C1B20C6}" type="pres">
      <dgm:prSet presAssocID="{ABD25DA2-7FA7-4724-A504-89E4BF11CADF}" presName="parTxOnly" presStyleLbl="node1" presStyleIdx="2" presStyleCnt="8" custLinFactNeighborY="-6340">
        <dgm:presLayoutVars>
          <dgm:bulletEnabled val="1"/>
        </dgm:presLayoutVars>
      </dgm:prSet>
      <dgm:spPr/>
    </dgm:pt>
    <dgm:pt modelId="{9F5D31C2-FEE4-48A5-89C2-6904259DD5CF}" type="pres">
      <dgm:prSet presAssocID="{321C28C8-8E17-477E-A7DD-586E2DE77383}" presName="parSpace" presStyleCnt="0"/>
      <dgm:spPr/>
    </dgm:pt>
    <dgm:pt modelId="{269FDA00-C630-4A00-98B1-AD0A61EE7CEA}" type="pres">
      <dgm:prSet presAssocID="{E66FB40C-946E-4DCB-915F-6697C3C8FF34}" presName="parTxOnly" presStyleLbl="node1" presStyleIdx="3" presStyleCnt="8" custLinFactNeighborY="-6340">
        <dgm:presLayoutVars>
          <dgm:bulletEnabled val="1"/>
        </dgm:presLayoutVars>
      </dgm:prSet>
      <dgm:spPr/>
    </dgm:pt>
    <dgm:pt modelId="{51E7065D-EDA9-4A37-98C0-9533A086547F}" type="pres">
      <dgm:prSet presAssocID="{5A6D3F57-0368-43F5-BE3D-95AB59469597}" presName="parSpace" presStyleCnt="0"/>
      <dgm:spPr/>
    </dgm:pt>
    <dgm:pt modelId="{9E204D48-F193-46A4-9491-0A9034F5A787}" type="pres">
      <dgm:prSet presAssocID="{4FAD3F94-C053-427D-AFC5-C97919B6599A}" presName="parTxOnly" presStyleLbl="node1" presStyleIdx="4" presStyleCnt="8" custLinFactNeighborY="-6340">
        <dgm:presLayoutVars>
          <dgm:bulletEnabled val="1"/>
        </dgm:presLayoutVars>
      </dgm:prSet>
      <dgm:spPr/>
    </dgm:pt>
    <dgm:pt modelId="{A6CC8A81-CFA3-4CB8-B2C5-18F47C83C96E}" type="pres">
      <dgm:prSet presAssocID="{E801593A-5256-41D3-AEED-B93EFECA0175}" presName="parSpace" presStyleCnt="0"/>
      <dgm:spPr/>
    </dgm:pt>
    <dgm:pt modelId="{8716042C-279E-445F-9D73-431CE59149B3}" type="pres">
      <dgm:prSet presAssocID="{87BDEA1D-635E-4ABC-8E3A-0B3D74138DD5}" presName="parTxOnly" presStyleLbl="node1" presStyleIdx="5" presStyleCnt="8" custLinFactNeighborY="-6340">
        <dgm:presLayoutVars>
          <dgm:bulletEnabled val="1"/>
        </dgm:presLayoutVars>
      </dgm:prSet>
      <dgm:spPr/>
    </dgm:pt>
    <dgm:pt modelId="{B2738546-915D-49F7-A04E-4FD2662DE796}" type="pres">
      <dgm:prSet presAssocID="{6CD717ED-2194-4412-9C4E-646D516950EB}" presName="parSpace" presStyleCnt="0"/>
      <dgm:spPr/>
    </dgm:pt>
    <dgm:pt modelId="{0116E7F4-F10C-4A6D-A83C-A0747C4128E4}" type="pres">
      <dgm:prSet presAssocID="{788D83F9-12F3-435F-9AC6-CADDCF0D9496}" presName="parTxOnly" presStyleLbl="node1" presStyleIdx="6" presStyleCnt="8" custLinFactNeighborY="-6340">
        <dgm:presLayoutVars>
          <dgm:bulletEnabled val="1"/>
        </dgm:presLayoutVars>
      </dgm:prSet>
      <dgm:spPr/>
    </dgm:pt>
    <dgm:pt modelId="{075135B9-E0A6-4138-8979-D30464809E14}" type="pres">
      <dgm:prSet presAssocID="{E591EBE1-D62A-47C6-93E4-B3DF6BD92EF7}" presName="parSpace" presStyleCnt="0"/>
      <dgm:spPr/>
    </dgm:pt>
    <dgm:pt modelId="{4109E786-07E0-4C8D-88A0-15EAC9F813E3}" type="pres">
      <dgm:prSet presAssocID="{4BA06883-3EC1-44F1-8DA0-4A8D3906C15E}" presName="parTxOnly" presStyleLbl="node1" presStyleIdx="7" presStyleCnt="8" custLinFactNeighborY="-6340">
        <dgm:presLayoutVars>
          <dgm:bulletEnabled val="1"/>
        </dgm:presLayoutVars>
      </dgm:prSet>
      <dgm:spPr/>
    </dgm:pt>
  </dgm:ptLst>
  <dgm:cxnLst>
    <dgm:cxn modelId="{6FF6D300-C380-4822-9CC5-679ACC00AC3D}" type="presOf" srcId="{4FAD3F94-C053-427D-AFC5-C97919B6599A}" destId="{9E204D48-F193-46A4-9491-0A9034F5A787}" srcOrd="0" destOrd="0" presId="urn:microsoft.com/office/officeart/2005/8/layout/hChevron3"/>
    <dgm:cxn modelId="{0E93FA1D-E703-434E-BBEA-BE46C14392AE}" srcId="{016A5C58-6F10-475B-AD20-F20F8A6A3F62}" destId="{E66FB40C-946E-4DCB-915F-6697C3C8FF34}" srcOrd="3" destOrd="0" parTransId="{4DB35684-870D-467A-9396-A57F8E6F4249}" sibTransId="{5A6D3F57-0368-43F5-BE3D-95AB59469597}"/>
    <dgm:cxn modelId="{A78B4772-BF32-451C-86FF-1EE4BEA41C85}" srcId="{016A5C58-6F10-475B-AD20-F20F8A6A3F62}" destId="{ABD25DA2-7FA7-4724-A504-89E4BF11CADF}" srcOrd="2" destOrd="0" parTransId="{A91EA40C-C480-47D7-9BC6-7FABC4BB598E}" sibTransId="{321C28C8-8E17-477E-A7DD-586E2DE77383}"/>
    <dgm:cxn modelId="{3046E599-A7A9-4BEE-8F91-B0EE665633C2}" srcId="{016A5C58-6F10-475B-AD20-F20F8A6A3F62}" destId="{BDDE903C-B0D3-41A4-A87C-AD5F93F85454}" srcOrd="0" destOrd="0" parTransId="{33A3A7AC-3D1B-4568-9B85-4A696F516EA5}" sibTransId="{2C4F2221-9372-48F1-9363-74F911A90690}"/>
    <dgm:cxn modelId="{70F3749D-96A7-4E24-A53D-106782BDCD4A}" srcId="{016A5C58-6F10-475B-AD20-F20F8A6A3F62}" destId="{4BA06883-3EC1-44F1-8DA0-4A8D3906C15E}" srcOrd="7" destOrd="0" parTransId="{8A03BCEF-CFDD-41B5-BD32-5F52660B9F92}" sibTransId="{5A604114-08B4-4C56-8FD6-52638E847EE8}"/>
    <dgm:cxn modelId="{8529EE9F-873B-4947-BD5F-D278094DB1ED}" type="presOf" srcId="{5CD19421-3BF8-4BAA-BC94-C651140DB1CE}" destId="{87AFEA20-F8EC-44D9-AFC9-9CEEB1C8F633}" srcOrd="0" destOrd="0" presId="urn:microsoft.com/office/officeart/2005/8/layout/hChevron3"/>
    <dgm:cxn modelId="{AC87D3A2-9CCF-4958-9A3E-6FE252882F89}" type="presOf" srcId="{87BDEA1D-635E-4ABC-8E3A-0B3D74138DD5}" destId="{8716042C-279E-445F-9D73-431CE59149B3}" srcOrd="0" destOrd="0" presId="urn:microsoft.com/office/officeart/2005/8/layout/hChevron3"/>
    <dgm:cxn modelId="{51CC0CAE-B2F6-49EF-8872-7E2C3AD965A9}" srcId="{016A5C58-6F10-475B-AD20-F20F8A6A3F62}" destId="{788D83F9-12F3-435F-9AC6-CADDCF0D9496}" srcOrd="6" destOrd="0" parTransId="{EE1B5DBC-5FE9-4DFF-B69C-291BDBC58863}" sibTransId="{E591EBE1-D62A-47C6-93E4-B3DF6BD92EF7}"/>
    <dgm:cxn modelId="{34B7EBB2-4AED-459D-AA77-DF7CE66FA8C2}" srcId="{016A5C58-6F10-475B-AD20-F20F8A6A3F62}" destId="{4FAD3F94-C053-427D-AFC5-C97919B6599A}" srcOrd="4" destOrd="0" parTransId="{56A4E656-2A52-4162-AB60-A2104CB8A6BC}" sibTransId="{E801593A-5256-41D3-AEED-B93EFECA0175}"/>
    <dgm:cxn modelId="{C8929BB4-605B-4C25-A1BC-155D84F90863}" type="presOf" srcId="{4BA06883-3EC1-44F1-8DA0-4A8D3906C15E}" destId="{4109E786-07E0-4C8D-88A0-15EAC9F813E3}" srcOrd="0" destOrd="0" presId="urn:microsoft.com/office/officeart/2005/8/layout/hChevron3"/>
    <dgm:cxn modelId="{5223B0C8-3338-4FC6-8C1F-8C084474FB66}" type="presOf" srcId="{BDDE903C-B0D3-41A4-A87C-AD5F93F85454}" destId="{8CB61470-A8BE-45AF-B568-030F78BD9C71}" srcOrd="0" destOrd="0" presId="urn:microsoft.com/office/officeart/2005/8/layout/hChevron3"/>
    <dgm:cxn modelId="{38CEECC8-4CDF-45F0-9F10-237458F28257}" type="presOf" srcId="{E66FB40C-946E-4DCB-915F-6697C3C8FF34}" destId="{269FDA00-C630-4A00-98B1-AD0A61EE7CEA}" srcOrd="0" destOrd="0" presId="urn:microsoft.com/office/officeart/2005/8/layout/hChevron3"/>
    <dgm:cxn modelId="{4538F5CC-0F8F-430B-BEDE-D8D205F0D15C}" type="presOf" srcId="{788D83F9-12F3-435F-9AC6-CADDCF0D9496}" destId="{0116E7F4-F10C-4A6D-A83C-A0747C4128E4}" srcOrd="0" destOrd="0" presId="urn:microsoft.com/office/officeart/2005/8/layout/hChevron3"/>
    <dgm:cxn modelId="{3D0EE6CD-72BF-4016-BE93-A8269B0A5A12}" type="presOf" srcId="{016A5C58-6F10-475B-AD20-F20F8A6A3F62}" destId="{EC90D3A8-6A0E-469F-9237-35315AD1A0D1}" srcOrd="0" destOrd="0" presId="urn:microsoft.com/office/officeart/2005/8/layout/hChevron3"/>
    <dgm:cxn modelId="{8EE9B7D0-E7C8-4B07-B995-A7BB4D0A85EA}" type="presOf" srcId="{ABD25DA2-7FA7-4724-A504-89E4BF11CADF}" destId="{FEDD17B4-F6C8-4605-BC6B-8DAB5C1B20C6}" srcOrd="0" destOrd="0" presId="urn:microsoft.com/office/officeart/2005/8/layout/hChevron3"/>
    <dgm:cxn modelId="{2D3F6FDF-FA60-4856-8071-C623D75ABF5B}" srcId="{016A5C58-6F10-475B-AD20-F20F8A6A3F62}" destId="{87BDEA1D-635E-4ABC-8E3A-0B3D74138DD5}" srcOrd="5" destOrd="0" parTransId="{CF4EA680-C79C-49B4-8F4E-3BA1C5CC6388}" sibTransId="{6CD717ED-2194-4412-9C4E-646D516950EB}"/>
    <dgm:cxn modelId="{B63865E1-2D7C-4D52-9BF1-40BB4C0D744E}" srcId="{016A5C58-6F10-475B-AD20-F20F8A6A3F62}" destId="{5CD19421-3BF8-4BAA-BC94-C651140DB1CE}" srcOrd="1" destOrd="0" parTransId="{1ED880C6-5DD5-4474-83E0-93DD8D9FFA63}" sibTransId="{A73698A2-6489-4E7F-9E3B-AA019EF7D72F}"/>
    <dgm:cxn modelId="{E9A381DA-A013-4D83-A378-C41214B88955}" type="presParOf" srcId="{EC90D3A8-6A0E-469F-9237-35315AD1A0D1}" destId="{8CB61470-A8BE-45AF-B568-030F78BD9C71}" srcOrd="0" destOrd="0" presId="urn:microsoft.com/office/officeart/2005/8/layout/hChevron3"/>
    <dgm:cxn modelId="{FFB41BDB-6F22-4A73-AE1E-D3D9232D7159}" type="presParOf" srcId="{EC90D3A8-6A0E-469F-9237-35315AD1A0D1}" destId="{A5C2DB88-C06F-4A1F-A102-C29FFAFE029B}" srcOrd="1" destOrd="0" presId="urn:microsoft.com/office/officeart/2005/8/layout/hChevron3"/>
    <dgm:cxn modelId="{5EFD6631-D042-4E67-ACE6-75964E62652A}" type="presParOf" srcId="{EC90D3A8-6A0E-469F-9237-35315AD1A0D1}" destId="{87AFEA20-F8EC-44D9-AFC9-9CEEB1C8F633}" srcOrd="2" destOrd="0" presId="urn:microsoft.com/office/officeart/2005/8/layout/hChevron3"/>
    <dgm:cxn modelId="{48A33ECF-7CD4-4B14-9EAA-1FC0EC587A23}" type="presParOf" srcId="{EC90D3A8-6A0E-469F-9237-35315AD1A0D1}" destId="{0006E6F9-1FC9-43C4-A4BF-9C588E7EC57C}" srcOrd="3" destOrd="0" presId="urn:microsoft.com/office/officeart/2005/8/layout/hChevron3"/>
    <dgm:cxn modelId="{7772B4FF-3517-4181-8253-D304386129BD}" type="presParOf" srcId="{EC90D3A8-6A0E-469F-9237-35315AD1A0D1}" destId="{FEDD17B4-F6C8-4605-BC6B-8DAB5C1B20C6}" srcOrd="4" destOrd="0" presId="urn:microsoft.com/office/officeart/2005/8/layout/hChevron3"/>
    <dgm:cxn modelId="{BC57CAE0-FF54-40E0-9AC1-7E02E5291416}" type="presParOf" srcId="{EC90D3A8-6A0E-469F-9237-35315AD1A0D1}" destId="{9F5D31C2-FEE4-48A5-89C2-6904259DD5CF}" srcOrd="5" destOrd="0" presId="urn:microsoft.com/office/officeart/2005/8/layout/hChevron3"/>
    <dgm:cxn modelId="{BC9D6B4C-601D-41D9-AF64-759B5A2F4CF5}" type="presParOf" srcId="{EC90D3A8-6A0E-469F-9237-35315AD1A0D1}" destId="{269FDA00-C630-4A00-98B1-AD0A61EE7CEA}" srcOrd="6" destOrd="0" presId="urn:microsoft.com/office/officeart/2005/8/layout/hChevron3"/>
    <dgm:cxn modelId="{70544E76-4C5A-4480-9282-4895732A0EEB}" type="presParOf" srcId="{EC90D3A8-6A0E-469F-9237-35315AD1A0D1}" destId="{51E7065D-EDA9-4A37-98C0-9533A086547F}" srcOrd="7" destOrd="0" presId="urn:microsoft.com/office/officeart/2005/8/layout/hChevron3"/>
    <dgm:cxn modelId="{F14E3AB9-1415-43ED-AA40-F86AB84D640D}" type="presParOf" srcId="{EC90D3A8-6A0E-469F-9237-35315AD1A0D1}" destId="{9E204D48-F193-46A4-9491-0A9034F5A787}" srcOrd="8" destOrd="0" presId="urn:microsoft.com/office/officeart/2005/8/layout/hChevron3"/>
    <dgm:cxn modelId="{348B81D0-7881-49BF-A45C-67A1EFA0A735}" type="presParOf" srcId="{EC90D3A8-6A0E-469F-9237-35315AD1A0D1}" destId="{A6CC8A81-CFA3-4CB8-B2C5-18F47C83C96E}" srcOrd="9" destOrd="0" presId="urn:microsoft.com/office/officeart/2005/8/layout/hChevron3"/>
    <dgm:cxn modelId="{3E9F74F8-47B5-4957-9F2E-3D390CB695EB}" type="presParOf" srcId="{EC90D3A8-6A0E-469F-9237-35315AD1A0D1}" destId="{8716042C-279E-445F-9D73-431CE59149B3}" srcOrd="10" destOrd="0" presId="urn:microsoft.com/office/officeart/2005/8/layout/hChevron3"/>
    <dgm:cxn modelId="{8F4A72D0-373C-4594-9391-33792A7011E5}" type="presParOf" srcId="{EC90D3A8-6A0E-469F-9237-35315AD1A0D1}" destId="{B2738546-915D-49F7-A04E-4FD2662DE796}" srcOrd="11" destOrd="0" presId="urn:microsoft.com/office/officeart/2005/8/layout/hChevron3"/>
    <dgm:cxn modelId="{F2EFA6B0-4AB3-4681-911D-2AC5C73B9F6F}" type="presParOf" srcId="{EC90D3A8-6A0E-469F-9237-35315AD1A0D1}" destId="{0116E7F4-F10C-4A6D-A83C-A0747C4128E4}" srcOrd="12" destOrd="0" presId="urn:microsoft.com/office/officeart/2005/8/layout/hChevron3"/>
    <dgm:cxn modelId="{F79520A7-E2D3-44D7-8122-0BFEADA9F466}" type="presParOf" srcId="{EC90D3A8-6A0E-469F-9237-35315AD1A0D1}" destId="{075135B9-E0A6-4138-8979-D30464809E14}" srcOrd="13" destOrd="0" presId="urn:microsoft.com/office/officeart/2005/8/layout/hChevron3"/>
    <dgm:cxn modelId="{BF5356DA-51B5-49DB-A8A9-A715B39EC63C}" type="presParOf" srcId="{EC90D3A8-6A0E-469F-9237-35315AD1A0D1}" destId="{4109E786-07E0-4C8D-88A0-15EAC9F813E3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16A5C58-6F10-475B-AD20-F20F8A6A3F62}" type="doc">
      <dgm:prSet loTypeId="urn:microsoft.com/office/officeart/2005/8/layout/hChevron3" loCatId="process" qsTypeId="urn:microsoft.com/office/officeart/2005/8/quickstyle/simple2" qsCatId="simple" csTypeId="urn:microsoft.com/office/officeart/2005/8/colors/accent1_5" csCatId="accent1" phldr="1"/>
      <dgm:spPr/>
    </dgm:pt>
    <dgm:pt modelId="{BDDE903C-B0D3-41A4-A87C-AD5F93F85454}">
      <dgm:prSet phldrT="[Text]" custT="1"/>
      <dgm:spPr/>
      <dgm:t>
        <a:bodyPr/>
        <a:lstStyle/>
        <a:p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>
              <a:solidFill>
                <a:schemeClr val="accent5">
                  <a:lumMod val="75000"/>
                </a:schemeClr>
              </a:solidFill>
            </a:rPr>
            <a:t> </a:t>
          </a:r>
        </a:p>
      </dgm:t>
    </dgm:pt>
    <dgm:pt modelId="{33A3A7AC-3D1B-4568-9B85-4A696F516EA5}" type="parTrans" cxnId="{3046E599-A7A9-4BEE-8F91-B0EE665633C2}">
      <dgm:prSet/>
      <dgm:spPr/>
      <dgm:t>
        <a:bodyPr/>
        <a:lstStyle/>
        <a:p>
          <a:endParaRPr lang="en-IN"/>
        </a:p>
      </dgm:t>
    </dgm:pt>
    <dgm:pt modelId="{2C4F2221-9372-48F1-9363-74F911A90690}" type="sibTrans" cxnId="{3046E599-A7A9-4BEE-8F91-B0EE665633C2}">
      <dgm:prSet/>
      <dgm:spPr/>
      <dgm:t>
        <a:bodyPr/>
        <a:lstStyle/>
        <a:p>
          <a:endParaRPr lang="en-IN"/>
        </a:p>
      </dgm:t>
    </dgm:pt>
    <dgm:pt modelId="{5CD19421-3BF8-4BAA-BC94-C651140DB1CE}">
      <dgm:prSet phldrT="[Text]" custT="1"/>
      <dgm:spPr/>
      <dgm:t>
        <a:bodyPr/>
        <a:lstStyle/>
        <a:p>
          <a:pPr algn="ctr"/>
          <a:r>
            <a:rPr lang="en-IN" sz="1200" b="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>
              <a:solidFill>
                <a:schemeClr val="accent5">
                  <a:lumMod val="75000"/>
                </a:schemeClr>
              </a:solidFill>
            </a:rPr>
            <a:t>NE</a:t>
          </a:r>
        </a:p>
      </dgm:t>
    </dgm:pt>
    <dgm:pt modelId="{1ED880C6-5DD5-4474-83E0-93DD8D9FFA63}" type="parTrans" cxnId="{B63865E1-2D7C-4D52-9BF1-40BB4C0D744E}">
      <dgm:prSet/>
      <dgm:spPr/>
      <dgm:t>
        <a:bodyPr/>
        <a:lstStyle/>
        <a:p>
          <a:endParaRPr lang="en-IN"/>
        </a:p>
      </dgm:t>
    </dgm:pt>
    <dgm:pt modelId="{A73698A2-6489-4E7F-9E3B-AA019EF7D72F}" type="sibTrans" cxnId="{B63865E1-2D7C-4D52-9BF1-40BB4C0D744E}">
      <dgm:prSet/>
      <dgm:spPr/>
      <dgm:t>
        <a:bodyPr/>
        <a:lstStyle/>
        <a:p>
          <a:endParaRPr lang="en-IN"/>
        </a:p>
      </dgm:t>
    </dgm:pt>
    <dgm:pt modelId="{ABD25DA2-7FA7-4724-A504-89E4BF11CADF}">
      <dgm:prSet phldrT="[Text]"/>
      <dgm:spPr/>
      <dgm:t>
        <a:bodyPr/>
        <a:lstStyle/>
        <a:p>
          <a:pPr algn="l"/>
          <a:r>
            <a:rPr lang="en-IN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gm:t>
    </dgm:pt>
    <dgm:pt modelId="{A91EA40C-C480-47D7-9BC6-7FABC4BB598E}" type="parTrans" cxnId="{A78B4772-BF32-451C-86FF-1EE4BEA41C85}">
      <dgm:prSet/>
      <dgm:spPr/>
      <dgm:t>
        <a:bodyPr/>
        <a:lstStyle/>
        <a:p>
          <a:endParaRPr lang="en-IN"/>
        </a:p>
      </dgm:t>
    </dgm:pt>
    <dgm:pt modelId="{321C28C8-8E17-477E-A7DD-586E2DE77383}" type="sibTrans" cxnId="{A78B4772-BF32-451C-86FF-1EE4BEA41C85}">
      <dgm:prSet/>
      <dgm:spPr/>
      <dgm:t>
        <a:bodyPr/>
        <a:lstStyle/>
        <a:p>
          <a:endParaRPr lang="en-IN"/>
        </a:p>
      </dgm:t>
    </dgm:pt>
    <dgm:pt modelId="{E66FB40C-946E-4DCB-915F-6697C3C8FF34}">
      <dgm:prSet phldrT="[Text]" custT="1"/>
      <dgm:spPr/>
      <dgm:t>
        <a:bodyPr/>
        <a:lstStyle/>
        <a:p>
          <a:pPr algn="l"/>
          <a:r>
            <a:rPr lang="en-IN" sz="105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gm:t>
    </dgm:pt>
    <dgm:pt modelId="{4DB35684-870D-467A-9396-A57F8E6F4249}" type="parTrans" cxnId="{0E93FA1D-E703-434E-BBEA-BE46C14392AE}">
      <dgm:prSet/>
      <dgm:spPr/>
      <dgm:t>
        <a:bodyPr/>
        <a:lstStyle/>
        <a:p>
          <a:endParaRPr lang="en-IN"/>
        </a:p>
      </dgm:t>
    </dgm:pt>
    <dgm:pt modelId="{5A6D3F57-0368-43F5-BE3D-95AB59469597}" type="sibTrans" cxnId="{0E93FA1D-E703-434E-BBEA-BE46C14392AE}">
      <dgm:prSet/>
      <dgm:spPr/>
      <dgm:t>
        <a:bodyPr/>
        <a:lstStyle/>
        <a:p>
          <a:endParaRPr lang="en-IN"/>
        </a:p>
      </dgm:t>
    </dgm:pt>
    <dgm:pt modelId="{4FAD3F94-C053-427D-AFC5-C97919B6599A}">
      <dgm:prSet phldrT="[Text]"/>
      <dgm:spPr/>
      <dgm:t>
        <a:bodyPr/>
        <a:lstStyle/>
        <a:p>
          <a:r>
            <a:rPr lang="en-IN" b="0">
              <a:solidFill>
                <a:schemeClr val="accent5">
                  <a:lumMod val="75000"/>
                </a:schemeClr>
              </a:solidFill>
            </a:rPr>
            <a:t>ESG analysis</a:t>
          </a:r>
        </a:p>
      </dgm:t>
    </dgm:pt>
    <dgm:pt modelId="{56A4E656-2A52-4162-AB60-A2104CB8A6BC}" type="parTrans" cxnId="{34B7EBB2-4AED-459D-AA77-DF7CE66FA8C2}">
      <dgm:prSet/>
      <dgm:spPr/>
      <dgm:t>
        <a:bodyPr/>
        <a:lstStyle/>
        <a:p>
          <a:endParaRPr lang="en-IN"/>
        </a:p>
      </dgm:t>
    </dgm:pt>
    <dgm:pt modelId="{E801593A-5256-41D3-AEED-B93EFECA0175}" type="sibTrans" cxnId="{34B7EBB2-4AED-459D-AA77-DF7CE66FA8C2}">
      <dgm:prSet/>
      <dgm:spPr/>
      <dgm:t>
        <a:bodyPr/>
        <a:lstStyle/>
        <a:p>
          <a:endParaRPr lang="en-IN"/>
        </a:p>
      </dgm:t>
    </dgm:pt>
    <dgm:pt modelId="{87BDEA1D-635E-4ABC-8E3A-0B3D74138DD5}">
      <dgm:prSet phldrT="[Text]"/>
      <dgm:spPr>
        <a:solidFill>
          <a:schemeClr val="tx1">
            <a:alpha val="61429"/>
          </a:schemeClr>
        </a:solidFill>
      </dgm:spPr>
      <dgm:t>
        <a:bodyPr/>
        <a:lstStyle/>
        <a:p>
          <a:r>
            <a:rPr lang="en-IN" b="1">
              <a:solidFill>
                <a:schemeClr val="bg1"/>
              </a:solidFill>
            </a:rPr>
            <a:t>Where we play?</a:t>
          </a:r>
        </a:p>
      </dgm:t>
    </dgm:pt>
    <dgm:pt modelId="{CF4EA680-C79C-49B4-8F4E-3BA1C5CC6388}" type="parTrans" cxnId="{2D3F6FDF-FA60-4856-8071-C623D75ABF5B}">
      <dgm:prSet/>
      <dgm:spPr/>
      <dgm:t>
        <a:bodyPr/>
        <a:lstStyle/>
        <a:p>
          <a:endParaRPr lang="en-IN"/>
        </a:p>
      </dgm:t>
    </dgm:pt>
    <dgm:pt modelId="{6CD717ED-2194-4412-9C4E-646D516950EB}" type="sibTrans" cxnId="{2D3F6FDF-FA60-4856-8071-C623D75ABF5B}">
      <dgm:prSet/>
      <dgm:spPr/>
      <dgm:t>
        <a:bodyPr/>
        <a:lstStyle/>
        <a:p>
          <a:endParaRPr lang="en-IN"/>
        </a:p>
      </dgm:t>
    </dgm:pt>
    <dgm:pt modelId="{788D83F9-12F3-435F-9AC6-CADDCF0D9496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Financials</a:t>
          </a:r>
        </a:p>
      </dgm:t>
    </dgm:pt>
    <dgm:pt modelId="{EE1B5DBC-5FE9-4DFF-B69C-291BDBC58863}" type="parTrans" cxnId="{51CC0CAE-B2F6-49EF-8872-7E2C3AD965A9}">
      <dgm:prSet/>
      <dgm:spPr/>
      <dgm:t>
        <a:bodyPr/>
        <a:lstStyle/>
        <a:p>
          <a:endParaRPr lang="en-IN"/>
        </a:p>
      </dgm:t>
    </dgm:pt>
    <dgm:pt modelId="{E591EBE1-D62A-47C6-93E4-B3DF6BD92EF7}" type="sibTrans" cxnId="{51CC0CAE-B2F6-49EF-8872-7E2C3AD965A9}">
      <dgm:prSet/>
      <dgm:spPr/>
      <dgm:t>
        <a:bodyPr/>
        <a:lstStyle/>
        <a:p>
          <a:endParaRPr lang="en-IN"/>
        </a:p>
      </dgm:t>
    </dgm:pt>
    <dgm:pt modelId="{4BA06883-3EC1-44F1-8DA0-4A8D3906C15E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>
            <a:solidFill>
              <a:schemeClr val="accent5">
                <a:lumMod val="75000"/>
              </a:schemeClr>
            </a:solidFill>
          </a:endParaRPr>
        </a:p>
      </dgm:t>
    </dgm:pt>
    <dgm:pt modelId="{8A03BCEF-CFDD-41B5-BD32-5F52660B9F92}" type="parTrans" cxnId="{70F3749D-96A7-4E24-A53D-106782BDCD4A}">
      <dgm:prSet/>
      <dgm:spPr/>
      <dgm:t>
        <a:bodyPr/>
        <a:lstStyle/>
        <a:p>
          <a:endParaRPr lang="en-IN"/>
        </a:p>
      </dgm:t>
    </dgm:pt>
    <dgm:pt modelId="{5A604114-08B4-4C56-8FD6-52638E847EE8}" type="sibTrans" cxnId="{70F3749D-96A7-4E24-A53D-106782BDCD4A}">
      <dgm:prSet/>
      <dgm:spPr/>
      <dgm:t>
        <a:bodyPr/>
        <a:lstStyle/>
        <a:p>
          <a:endParaRPr lang="en-IN"/>
        </a:p>
      </dgm:t>
    </dgm:pt>
    <dgm:pt modelId="{EC90D3A8-6A0E-469F-9237-35315AD1A0D1}" type="pres">
      <dgm:prSet presAssocID="{016A5C58-6F10-475B-AD20-F20F8A6A3F62}" presName="Name0" presStyleCnt="0">
        <dgm:presLayoutVars>
          <dgm:dir/>
          <dgm:resizeHandles val="exact"/>
        </dgm:presLayoutVars>
      </dgm:prSet>
      <dgm:spPr/>
    </dgm:pt>
    <dgm:pt modelId="{8CB61470-A8BE-45AF-B568-030F78BD9C71}" type="pres">
      <dgm:prSet presAssocID="{BDDE903C-B0D3-41A4-A87C-AD5F93F85454}" presName="parTxOnly" presStyleLbl="node1" presStyleIdx="0" presStyleCnt="8" custLinFactNeighborX="-425" custLinFactNeighborY="-64414">
        <dgm:presLayoutVars>
          <dgm:bulletEnabled val="1"/>
        </dgm:presLayoutVars>
      </dgm:prSet>
      <dgm:spPr/>
    </dgm:pt>
    <dgm:pt modelId="{A5C2DB88-C06F-4A1F-A102-C29FFAFE029B}" type="pres">
      <dgm:prSet presAssocID="{2C4F2221-9372-48F1-9363-74F911A90690}" presName="parSpace" presStyleCnt="0"/>
      <dgm:spPr/>
    </dgm:pt>
    <dgm:pt modelId="{87AFEA20-F8EC-44D9-AFC9-9CEEB1C8F633}" type="pres">
      <dgm:prSet presAssocID="{5CD19421-3BF8-4BAA-BC94-C651140DB1CE}" presName="parTxOnly" presStyleLbl="node1" presStyleIdx="1" presStyleCnt="8">
        <dgm:presLayoutVars>
          <dgm:bulletEnabled val="1"/>
        </dgm:presLayoutVars>
      </dgm:prSet>
      <dgm:spPr/>
    </dgm:pt>
    <dgm:pt modelId="{0006E6F9-1FC9-43C4-A4BF-9C588E7EC57C}" type="pres">
      <dgm:prSet presAssocID="{A73698A2-6489-4E7F-9E3B-AA019EF7D72F}" presName="parSpace" presStyleCnt="0"/>
      <dgm:spPr/>
    </dgm:pt>
    <dgm:pt modelId="{FEDD17B4-F6C8-4605-BC6B-8DAB5C1B20C6}" type="pres">
      <dgm:prSet presAssocID="{ABD25DA2-7FA7-4724-A504-89E4BF11CADF}" presName="parTxOnly" presStyleLbl="node1" presStyleIdx="2" presStyleCnt="8" custLinFactNeighborY="-6340">
        <dgm:presLayoutVars>
          <dgm:bulletEnabled val="1"/>
        </dgm:presLayoutVars>
      </dgm:prSet>
      <dgm:spPr/>
    </dgm:pt>
    <dgm:pt modelId="{9F5D31C2-FEE4-48A5-89C2-6904259DD5CF}" type="pres">
      <dgm:prSet presAssocID="{321C28C8-8E17-477E-A7DD-586E2DE77383}" presName="parSpace" presStyleCnt="0"/>
      <dgm:spPr/>
    </dgm:pt>
    <dgm:pt modelId="{269FDA00-C630-4A00-98B1-AD0A61EE7CEA}" type="pres">
      <dgm:prSet presAssocID="{E66FB40C-946E-4DCB-915F-6697C3C8FF34}" presName="parTxOnly" presStyleLbl="node1" presStyleIdx="3" presStyleCnt="8" custLinFactNeighborY="-6340">
        <dgm:presLayoutVars>
          <dgm:bulletEnabled val="1"/>
        </dgm:presLayoutVars>
      </dgm:prSet>
      <dgm:spPr/>
    </dgm:pt>
    <dgm:pt modelId="{51E7065D-EDA9-4A37-98C0-9533A086547F}" type="pres">
      <dgm:prSet presAssocID="{5A6D3F57-0368-43F5-BE3D-95AB59469597}" presName="parSpace" presStyleCnt="0"/>
      <dgm:spPr/>
    </dgm:pt>
    <dgm:pt modelId="{9E204D48-F193-46A4-9491-0A9034F5A787}" type="pres">
      <dgm:prSet presAssocID="{4FAD3F94-C053-427D-AFC5-C97919B6599A}" presName="parTxOnly" presStyleLbl="node1" presStyleIdx="4" presStyleCnt="8" custLinFactNeighborY="-6340">
        <dgm:presLayoutVars>
          <dgm:bulletEnabled val="1"/>
        </dgm:presLayoutVars>
      </dgm:prSet>
      <dgm:spPr/>
    </dgm:pt>
    <dgm:pt modelId="{A6CC8A81-CFA3-4CB8-B2C5-18F47C83C96E}" type="pres">
      <dgm:prSet presAssocID="{E801593A-5256-41D3-AEED-B93EFECA0175}" presName="parSpace" presStyleCnt="0"/>
      <dgm:spPr/>
    </dgm:pt>
    <dgm:pt modelId="{8716042C-279E-445F-9D73-431CE59149B3}" type="pres">
      <dgm:prSet presAssocID="{87BDEA1D-635E-4ABC-8E3A-0B3D74138DD5}" presName="parTxOnly" presStyleLbl="node1" presStyleIdx="5" presStyleCnt="8" custLinFactNeighborY="-12433">
        <dgm:presLayoutVars>
          <dgm:bulletEnabled val="1"/>
        </dgm:presLayoutVars>
      </dgm:prSet>
      <dgm:spPr/>
    </dgm:pt>
    <dgm:pt modelId="{B2738546-915D-49F7-A04E-4FD2662DE796}" type="pres">
      <dgm:prSet presAssocID="{6CD717ED-2194-4412-9C4E-646D516950EB}" presName="parSpace" presStyleCnt="0"/>
      <dgm:spPr/>
    </dgm:pt>
    <dgm:pt modelId="{0116E7F4-F10C-4A6D-A83C-A0747C4128E4}" type="pres">
      <dgm:prSet presAssocID="{788D83F9-12F3-435F-9AC6-CADDCF0D9496}" presName="parTxOnly" presStyleLbl="node1" presStyleIdx="6" presStyleCnt="8" custLinFactNeighborY="-6340">
        <dgm:presLayoutVars>
          <dgm:bulletEnabled val="1"/>
        </dgm:presLayoutVars>
      </dgm:prSet>
      <dgm:spPr/>
    </dgm:pt>
    <dgm:pt modelId="{075135B9-E0A6-4138-8979-D30464809E14}" type="pres">
      <dgm:prSet presAssocID="{E591EBE1-D62A-47C6-93E4-B3DF6BD92EF7}" presName="parSpace" presStyleCnt="0"/>
      <dgm:spPr/>
    </dgm:pt>
    <dgm:pt modelId="{4109E786-07E0-4C8D-88A0-15EAC9F813E3}" type="pres">
      <dgm:prSet presAssocID="{4BA06883-3EC1-44F1-8DA0-4A8D3906C15E}" presName="parTxOnly" presStyleLbl="node1" presStyleIdx="7" presStyleCnt="8" custLinFactNeighborY="-6340">
        <dgm:presLayoutVars>
          <dgm:bulletEnabled val="1"/>
        </dgm:presLayoutVars>
      </dgm:prSet>
      <dgm:spPr/>
    </dgm:pt>
  </dgm:ptLst>
  <dgm:cxnLst>
    <dgm:cxn modelId="{6FF6D300-C380-4822-9CC5-679ACC00AC3D}" type="presOf" srcId="{4FAD3F94-C053-427D-AFC5-C97919B6599A}" destId="{9E204D48-F193-46A4-9491-0A9034F5A787}" srcOrd="0" destOrd="0" presId="urn:microsoft.com/office/officeart/2005/8/layout/hChevron3"/>
    <dgm:cxn modelId="{0E93FA1D-E703-434E-BBEA-BE46C14392AE}" srcId="{016A5C58-6F10-475B-AD20-F20F8A6A3F62}" destId="{E66FB40C-946E-4DCB-915F-6697C3C8FF34}" srcOrd="3" destOrd="0" parTransId="{4DB35684-870D-467A-9396-A57F8E6F4249}" sibTransId="{5A6D3F57-0368-43F5-BE3D-95AB59469597}"/>
    <dgm:cxn modelId="{A78B4772-BF32-451C-86FF-1EE4BEA41C85}" srcId="{016A5C58-6F10-475B-AD20-F20F8A6A3F62}" destId="{ABD25DA2-7FA7-4724-A504-89E4BF11CADF}" srcOrd="2" destOrd="0" parTransId="{A91EA40C-C480-47D7-9BC6-7FABC4BB598E}" sibTransId="{321C28C8-8E17-477E-A7DD-586E2DE77383}"/>
    <dgm:cxn modelId="{3046E599-A7A9-4BEE-8F91-B0EE665633C2}" srcId="{016A5C58-6F10-475B-AD20-F20F8A6A3F62}" destId="{BDDE903C-B0D3-41A4-A87C-AD5F93F85454}" srcOrd="0" destOrd="0" parTransId="{33A3A7AC-3D1B-4568-9B85-4A696F516EA5}" sibTransId="{2C4F2221-9372-48F1-9363-74F911A90690}"/>
    <dgm:cxn modelId="{70F3749D-96A7-4E24-A53D-106782BDCD4A}" srcId="{016A5C58-6F10-475B-AD20-F20F8A6A3F62}" destId="{4BA06883-3EC1-44F1-8DA0-4A8D3906C15E}" srcOrd="7" destOrd="0" parTransId="{8A03BCEF-CFDD-41B5-BD32-5F52660B9F92}" sibTransId="{5A604114-08B4-4C56-8FD6-52638E847EE8}"/>
    <dgm:cxn modelId="{8529EE9F-873B-4947-BD5F-D278094DB1ED}" type="presOf" srcId="{5CD19421-3BF8-4BAA-BC94-C651140DB1CE}" destId="{87AFEA20-F8EC-44D9-AFC9-9CEEB1C8F633}" srcOrd="0" destOrd="0" presId="urn:microsoft.com/office/officeart/2005/8/layout/hChevron3"/>
    <dgm:cxn modelId="{AC87D3A2-9CCF-4958-9A3E-6FE252882F89}" type="presOf" srcId="{87BDEA1D-635E-4ABC-8E3A-0B3D74138DD5}" destId="{8716042C-279E-445F-9D73-431CE59149B3}" srcOrd="0" destOrd="0" presId="urn:microsoft.com/office/officeart/2005/8/layout/hChevron3"/>
    <dgm:cxn modelId="{51CC0CAE-B2F6-49EF-8872-7E2C3AD965A9}" srcId="{016A5C58-6F10-475B-AD20-F20F8A6A3F62}" destId="{788D83F9-12F3-435F-9AC6-CADDCF0D9496}" srcOrd="6" destOrd="0" parTransId="{EE1B5DBC-5FE9-4DFF-B69C-291BDBC58863}" sibTransId="{E591EBE1-D62A-47C6-93E4-B3DF6BD92EF7}"/>
    <dgm:cxn modelId="{34B7EBB2-4AED-459D-AA77-DF7CE66FA8C2}" srcId="{016A5C58-6F10-475B-AD20-F20F8A6A3F62}" destId="{4FAD3F94-C053-427D-AFC5-C97919B6599A}" srcOrd="4" destOrd="0" parTransId="{56A4E656-2A52-4162-AB60-A2104CB8A6BC}" sibTransId="{E801593A-5256-41D3-AEED-B93EFECA0175}"/>
    <dgm:cxn modelId="{C8929BB4-605B-4C25-A1BC-155D84F90863}" type="presOf" srcId="{4BA06883-3EC1-44F1-8DA0-4A8D3906C15E}" destId="{4109E786-07E0-4C8D-88A0-15EAC9F813E3}" srcOrd="0" destOrd="0" presId="urn:microsoft.com/office/officeart/2005/8/layout/hChevron3"/>
    <dgm:cxn modelId="{5223B0C8-3338-4FC6-8C1F-8C084474FB66}" type="presOf" srcId="{BDDE903C-B0D3-41A4-A87C-AD5F93F85454}" destId="{8CB61470-A8BE-45AF-B568-030F78BD9C71}" srcOrd="0" destOrd="0" presId="urn:microsoft.com/office/officeart/2005/8/layout/hChevron3"/>
    <dgm:cxn modelId="{38CEECC8-4CDF-45F0-9F10-237458F28257}" type="presOf" srcId="{E66FB40C-946E-4DCB-915F-6697C3C8FF34}" destId="{269FDA00-C630-4A00-98B1-AD0A61EE7CEA}" srcOrd="0" destOrd="0" presId="urn:microsoft.com/office/officeart/2005/8/layout/hChevron3"/>
    <dgm:cxn modelId="{4538F5CC-0F8F-430B-BEDE-D8D205F0D15C}" type="presOf" srcId="{788D83F9-12F3-435F-9AC6-CADDCF0D9496}" destId="{0116E7F4-F10C-4A6D-A83C-A0747C4128E4}" srcOrd="0" destOrd="0" presId="urn:microsoft.com/office/officeart/2005/8/layout/hChevron3"/>
    <dgm:cxn modelId="{3D0EE6CD-72BF-4016-BE93-A8269B0A5A12}" type="presOf" srcId="{016A5C58-6F10-475B-AD20-F20F8A6A3F62}" destId="{EC90D3A8-6A0E-469F-9237-35315AD1A0D1}" srcOrd="0" destOrd="0" presId="urn:microsoft.com/office/officeart/2005/8/layout/hChevron3"/>
    <dgm:cxn modelId="{8EE9B7D0-E7C8-4B07-B995-A7BB4D0A85EA}" type="presOf" srcId="{ABD25DA2-7FA7-4724-A504-89E4BF11CADF}" destId="{FEDD17B4-F6C8-4605-BC6B-8DAB5C1B20C6}" srcOrd="0" destOrd="0" presId="urn:microsoft.com/office/officeart/2005/8/layout/hChevron3"/>
    <dgm:cxn modelId="{2D3F6FDF-FA60-4856-8071-C623D75ABF5B}" srcId="{016A5C58-6F10-475B-AD20-F20F8A6A3F62}" destId="{87BDEA1D-635E-4ABC-8E3A-0B3D74138DD5}" srcOrd="5" destOrd="0" parTransId="{CF4EA680-C79C-49B4-8F4E-3BA1C5CC6388}" sibTransId="{6CD717ED-2194-4412-9C4E-646D516950EB}"/>
    <dgm:cxn modelId="{B63865E1-2D7C-4D52-9BF1-40BB4C0D744E}" srcId="{016A5C58-6F10-475B-AD20-F20F8A6A3F62}" destId="{5CD19421-3BF8-4BAA-BC94-C651140DB1CE}" srcOrd="1" destOrd="0" parTransId="{1ED880C6-5DD5-4474-83E0-93DD8D9FFA63}" sibTransId="{A73698A2-6489-4E7F-9E3B-AA019EF7D72F}"/>
    <dgm:cxn modelId="{E9A381DA-A013-4D83-A378-C41214B88955}" type="presParOf" srcId="{EC90D3A8-6A0E-469F-9237-35315AD1A0D1}" destId="{8CB61470-A8BE-45AF-B568-030F78BD9C71}" srcOrd="0" destOrd="0" presId="urn:microsoft.com/office/officeart/2005/8/layout/hChevron3"/>
    <dgm:cxn modelId="{FFB41BDB-6F22-4A73-AE1E-D3D9232D7159}" type="presParOf" srcId="{EC90D3A8-6A0E-469F-9237-35315AD1A0D1}" destId="{A5C2DB88-C06F-4A1F-A102-C29FFAFE029B}" srcOrd="1" destOrd="0" presId="urn:microsoft.com/office/officeart/2005/8/layout/hChevron3"/>
    <dgm:cxn modelId="{5EFD6631-D042-4E67-ACE6-75964E62652A}" type="presParOf" srcId="{EC90D3A8-6A0E-469F-9237-35315AD1A0D1}" destId="{87AFEA20-F8EC-44D9-AFC9-9CEEB1C8F633}" srcOrd="2" destOrd="0" presId="urn:microsoft.com/office/officeart/2005/8/layout/hChevron3"/>
    <dgm:cxn modelId="{48A33ECF-7CD4-4B14-9EAA-1FC0EC587A23}" type="presParOf" srcId="{EC90D3A8-6A0E-469F-9237-35315AD1A0D1}" destId="{0006E6F9-1FC9-43C4-A4BF-9C588E7EC57C}" srcOrd="3" destOrd="0" presId="urn:microsoft.com/office/officeart/2005/8/layout/hChevron3"/>
    <dgm:cxn modelId="{7772B4FF-3517-4181-8253-D304386129BD}" type="presParOf" srcId="{EC90D3A8-6A0E-469F-9237-35315AD1A0D1}" destId="{FEDD17B4-F6C8-4605-BC6B-8DAB5C1B20C6}" srcOrd="4" destOrd="0" presId="urn:microsoft.com/office/officeart/2005/8/layout/hChevron3"/>
    <dgm:cxn modelId="{BC57CAE0-FF54-40E0-9AC1-7E02E5291416}" type="presParOf" srcId="{EC90D3A8-6A0E-469F-9237-35315AD1A0D1}" destId="{9F5D31C2-FEE4-48A5-89C2-6904259DD5CF}" srcOrd="5" destOrd="0" presId="urn:microsoft.com/office/officeart/2005/8/layout/hChevron3"/>
    <dgm:cxn modelId="{BC9D6B4C-601D-41D9-AF64-759B5A2F4CF5}" type="presParOf" srcId="{EC90D3A8-6A0E-469F-9237-35315AD1A0D1}" destId="{269FDA00-C630-4A00-98B1-AD0A61EE7CEA}" srcOrd="6" destOrd="0" presId="urn:microsoft.com/office/officeart/2005/8/layout/hChevron3"/>
    <dgm:cxn modelId="{70544E76-4C5A-4480-9282-4895732A0EEB}" type="presParOf" srcId="{EC90D3A8-6A0E-469F-9237-35315AD1A0D1}" destId="{51E7065D-EDA9-4A37-98C0-9533A086547F}" srcOrd="7" destOrd="0" presId="urn:microsoft.com/office/officeart/2005/8/layout/hChevron3"/>
    <dgm:cxn modelId="{F14E3AB9-1415-43ED-AA40-F86AB84D640D}" type="presParOf" srcId="{EC90D3A8-6A0E-469F-9237-35315AD1A0D1}" destId="{9E204D48-F193-46A4-9491-0A9034F5A787}" srcOrd="8" destOrd="0" presId="urn:microsoft.com/office/officeart/2005/8/layout/hChevron3"/>
    <dgm:cxn modelId="{348B81D0-7881-49BF-A45C-67A1EFA0A735}" type="presParOf" srcId="{EC90D3A8-6A0E-469F-9237-35315AD1A0D1}" destId="{A6CC8A81-CFA3-4CB8-B2C5-18F47C83C96E}" srcOrd="9" destOrd="0" presId="urn:microsoft.com/office/officeart/2005/8/layout/hChevron3"/>
    <dgm:cxn modelId="{3E9F74F8-47B5-4957-9F2E-3D390CB695EB}" type="presParOf" srcId="{EC90D3A8-6A0E-469F-9237-35315AD1A0D1}" destId="{8716042C-279E-445F-9D73-431CE59149B3}" srcOrd="10" destOrd="0" presId="urn:microsoft.com/office/officeart/2005/8/layout/hChevron3"/>
    <dgm:cxn modelId="{8F4A72D0-373C-4594-9391-33792A7011E5}" type="presParOf" srcId="{EC90D3A8-6A0E-469F-9237-35315AD1A0D1}" destId="{B2738546-915D-49F7-A04E-4FD2662DE796}" srcOrd="11" destOrd="0" presId="urn:microsoft.com/office/officeart/2005/8/layout/hChevron3"/>
    <dgm:cxn modelId="{F2EFA6B0-4AB3-4681-911D-2AC5C73B9F6F}" type="presParOf" srcId="{EC90D3A8-6A0E-469F-9237-35315AD1A0D1}" destId="{0116E7F4-F10C-4A6D-A83C-A0747C4128E4}" srcOrd="12" destOrd="0" presId="urn:microsoft.com/office/officeart/2005/8/layout/hChevron3"/>
    <dgm:cxn modelId="{F79520A7-E2D3-44D7-8122-0BFEADA9F466}" type="presParOf" srcId="{EC90D3A8-6A0E-469F-9237-35315AD1A0D1}" destId="{075135B9-E0A6-4138-8979-D30464809E14}" srcOrd="13" destOrd="0" presId="urn:microsoft.com/office/officeart/2005/8/layout/hChevron3"/>
    <dgm:cxn modelId="{BF5356DA-51B5-49DB-A8A9-A715B39EC63C}" type="presParOf" srcId="{EC90D3A8-6A0E-469F-9237-35315AD1A0D1}" destId="{4109E786-07E0-4C8D-88A0-15EAC9F813E3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16A5C58-6F10-475B-AD20-F20F8A6A3F62}" type="doc">
      <dgm:prSet loTypeId="urn:microsoft.com/office/officeart/2005/8/layout/hChevron3" loCatId="process" qsTypeId="urn:microsoft.com/office/officeart/2005/8/quickstyle/simple2" qsCatId="simple" csTypeId="urn:microsoft.com/office/officeart/2005/8/colors/accent1_5" csCatId="accent1" phldr="1"/>
      <dgm:spPr/>
    </dgm:pt>
    <dgm:pt modelId="{BDDE903C-B0D3-41A4-A87C-AD5F93F85454}">
      <dgm:prSet phldrT="[Text]" custT="1"/>
      <dgm:spPr/>
      <dgm:t>
        <a:bodyPr/>
        <a:lstStyle/>
        <a:p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>
              <a:solidFill>
                <a:schemeClr val="accent5">
                  <a:lumMod val="75000"/>
                </a:schemeClr>
              </a:solidFill>
            </a:rPr>
            <a:t> </a:t>
          </a:r>
        </a:p>
      </dgm:t>
    </dgm:pt>
    <dgm:pt modelId="{33A3A7AC-3D1B-4568-9B85-4A696F516EA5}" type="parTrans" cxnId="{3046E599-A7A9-4BEE-8F91-B0EE665633C2}">
      <dgm:prSet/>
      <dgm:spPr/>
      <dgm:t>
        <a:bodyPr/>
        <a:lstStyle/>
        <a:p>
          <a:endParaRPr lang="en-IN"/>
        </a:p>
      </dgm:t>
    </dgm:pt>
    <dgm:pt modelId="{2C4F2221-9372-48F1-9363-74F911A90690}" type="sibTrans" cxnId="{3046E599-A7A9-4BEE-8F91-B0EE665633C2}">
      <dgm:prSet/>
      <dgm:spPr/>
      <dgm:t>
        <a:bodyPr/>
        <a:lstStyle/>
        <a:p>
          <a:endParaRPr lang="en-IN"/>
        </a:p>
      </dgm:t>
    </dgm:pt>
    <dgm:pt modelId="{5CD19421-3BF8-4BAA-BC94-C651140DB1CE}">
      <dgm:prSet phldrT="[Text]" custT="1"/>
      <dgm:spPr/>
      <dgm:t>
        <a:bodyPr/>
        <a:lstStyle/>
        <a:p>
          <a:pPr algn="ctr"/>
          <a:r>
            <a:rPr lang="en-IN" sz="1200" b="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>
              <a:solidFill>
                <a:schemeClr val="accent5">
                  <a:lumMod val="75000"/>
                </a:schemeClr>
              </a:solidFill>
            </a:rPr>
            <a:t>NE</a:t>
          </a:r>
        </a:p>
      </dgm:t>
    </dgm:pt>
    <dgm:pt modelId="{1ED880C6-5DD5-4474-83E0-93DD8D9FFA63}" type="parTrans" cxnId="{B63865E1-2D7C-4D52-9BF1-40BB4C0D744E}">
      <dgm:prSet/>
      <dgm:spPr/>
      <dgm:t>
        <a:bodyPr/>
        <a:lstStyle/>
        <a:p>
          <a:endParaRPr lang="en-IN"/>
        </a:p>
      </dgm:t>
    </dgm:pt>
    <dgm:pt modelId="{A73698A2-6489-4E7F-9E3B-AA019EF7D72F}" type="sibTrans" cxnId="{B63865E1-2D7C-4D52-9BF1-40BB4C0D744E}">
      <dgm:prSet/>
      <dgm:spPr/>
      <dgm:t>
        <a:bodyPr/>
        <a:lstStyle/>
        <a:p>
          <a:endParaRPr lang="en-IN"/>
        </a:p>
      </dgm:t>
    </dgm:pt>
    <dgm:pt modelId="{ABD25DA2-7FA7-4724-A504-89E4BF11CADF}">
      <dgm:prSet phldrT="[Text]"/>
      <dgm:spPr/>
      <dgm:t>
        <a:bodyPr/>
        <a:lstStyle/>
        <a:p>
          <a:pPr algn="l"/>
          <a:r>
            <a:rPr lang="en-IN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gm:t>
    </dgm:pt>
    <dgm:pt modelId="{A91EA40C-C480-47D7-9BC6-7FABC4BB598E}" type="parTrans" cxnId="{A78B4772-BF32-451C-86FF-1EE4BEA41C85}">
      <dgm:prSet/>
      <dgm:spPr/>
      <dgm:t>
        <a:bodyPr/>
        <a:lstStyle/>
        <a:p>
          <a:endParaRPr lang="en-IN"/>
        </a:p>
      </dgm:t>
    </dgm:pt>
    <dgm:pt modelId="{321C28C8-8E17-477E-A7DD-586E2DE77383}" type="sibTrans" cxnId="{A78B4772-BF32-451C-86FF-1EE4BEA41C85}">
      <dgm:prSet/>
      <dgm:spPr/>
      <dgm:t>
        <a:bodyPr/>
        <a:lstStyle/>
        <a:p>
          <a:endParaRPr lang="en-IN"/>
        </a:p>
      </dgm:t>
    </dgm:pt>
    <dgm:pt modelId="{E66FB40C-946E-4DCB-915F-6697C3C8FF34}">
      <dgm:prSet phldrT="[Text]" custT="1"/>
      <dgm:spPr/>
      <dgm:t>
        <a:bodyPr/>
        <a:lstStyle/>
        <a:p>
          <a:pPr algn="l"/>
          <a:r>
            <a:rPr lang="en-IN" sz="105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gm:t>
    </dgm:pt>
    <dgm:pt modelId="{4DB35684-870D-467A-9396-A57F8E6F4249}" type="parTrans" cxnId="{0E93FA1D-E703-434E-BBEA-BE46C14392AE}">
      <dgm:prSet/>
      <dgm:spPr/>
      <dgm:t>
        <a:bodyPr/>
        <a:lstStyle/>
        <a:p>
          <a:endParaRPr lang="en-IN"/>
        </a:p>
      </dgm:t>
    </dgm:pt>
    <dgm:pt modelId="{5A6D3F57-0368-43F5-BE3D-95AB59469597}" type="sibTrans" cxnId="{0E93FA1D-E703-434E-BBEA-BE46C14392AE}">
      <dgm:prSet/>
      <dgm:spPr/>
      <dgm:t>
        <a:bodyPr/>
        <a:lstStyle/>
        <a:p>
          <a:endParaRPr lang="en-IN"/>
        </a:p>
      </dgm:t>
    </dgm:pt>
    <dgm:pt modelId="{4FAD3F94-C053-427D-AFC5-C97919B6599A}">
      <dgm:prSet phldrT="[Text]"/>
      <dgm:spPr/>
      <dgm:t>
        <a:bodyPr/>
        <a:lstStyle/>
        <a:p>
          <a:r>
            <a:rPr lang="en-IN" b="0">
              <a:solidFill>
                <a:schemeClr val="accent5">
                  <a:lumMod val="75000"/>
                </a:schemeClr>
              </a:solidFill>
            </a:rPr>
            <a:t>ESG analysis</a:t>
          </a:r>
        </a:p>
      </dgm:t>
    </dgm:pt>
    <dgm:pt modelId="{56A4E656-2A52-4162-AB60-A2104CB8A6BC}" type="parTrans" cxnId="{34B7EBB2-4AED-459D-AA77-DF7CE66FA8C2}">
      <dgm:prSet/>
      <dgm:spPr/>
      <dgm:t>
        <a:bodyPr/>
        <a:lstStyle/>
        <a:p>
          <a:endParaRPr lang="en-IN"/>
        </a:p>
      </dgm:t>
    </dgm:pt>
    <dgm:pt modelId="{E801593A-5256-41D3-AEED-B93EFECA0175}" type="sibTrans" cxnId="{34B7EBB2-4AED-459D-AA77-DF7CE66FA8C2}">
      <dgm:prSet/>
      <dgm:spPr/>
      <dgm:t>
        <a:bodyPr/>
        <a:lstStyle/>
        <a:p>
          <a:endParaRPr lang="en-IN"/>
        </a:p>
      </dgm:t>
    </dgm:pt>
    <dgm:pt modelId="{87BDEA1D-635E-4ABC-8E3A-0B3D74138DD5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ere we play?</a:t>
          </a:r>
        </a:p>
      </dgm:t>
    </dgm:pt>
    <dgm:pt modelId="{CF4EA680-C79C-49B4-8F4E-3BA1C5CC6388}" type="parTrans" cxnId="{2D3F6FDF-FA60-4856-8071-C623D75ABF5B}">
      <dgm:prSet/>
      <dgm:spPr/>
      <dgm:t>
        <a:bodyPr/>
        <a:lstStyle/>
        <a:p>
          <a:endParaRPr lang="en-IN"/>
        </a:p>
      </dgm:t>
    </dgm:pt>
    <dgm:pt modelId="{6CD717ED-2194-4412-9C4E-646D516950EB}" type="sibTrans" cxnId="{2D3F6FDF-FA60-4856-8071-C623D75ABF5B}">
      <dgm:prSet/>
      <dgm:spPr/>
      <dgm:t>
        <a:bodyPr/>
        <a:lstStyle/>
        <a:p>
          <a:endParaRPr lang="en-IN"/>
        </a:p>
      </dgm:t>
    </dgm:pt>
    <dgm:pt modelId="{788D83F9-12F3-435F-9AC6-CADDCF0D9496}">
      <dgm:prSet phldrT="[Text]"/>
      <dgm:spPr>
        <a:solidFill>
          <a:schemeClr val="tx1">
            <a:alpha val="55714"/>
          </a:schemeClr>
        </a:solidFill>
      </dgm:spPr>
      <dgm:t>
        <a:bodyPr/>
        <a:lstStyle/>
        <a:p>
          <a:r>
            <a:rPr lang="en-IN" b="1">
              <a:solidFill>
                <a:schemeClr val="bg1"/>
              </a:solidFill>
            </a:rPr>
            <a:t>Financials</a:t>
          </a:r>
        </a:p>
      </dgm:t>
    </dgm:pt>
    <dgm:pt modelId="{EE1B5DBC-5FE9-4DFF-B69C-291BDBC58863}" type="parTrans" cxnId="{51CC0CAE-B2F6-49EF-8872-7E2C3AD965A9}">
      <dgm:prSet/>
      <dgm:spPr/>
      <dgm:t>
        <a:bodyPr/>
        <a:lstStyle/>
        <a:p>
          <a:endParaRPr lang="en-IN"/>
        </a:p>
      </dgm:t>
    </dgm:pt>
    <dgm:pt modelId="{E591EBE1-D62A-47C6-93E4-B3DF6BD92EF7}" type="sibTrans" cxnId="{51CC0CAE-B2F6-49EF-8872-7E2C3AD965A9}">
      <dgm:prSet/>
      <dgm:spPr/>
      <dgm:t>
        <a:bodyPr/>
        <a:lstStyle/>
        <a:p>
          <a:endParaRPr lang="en-IN"/>
        </a:p>
      </dgm:t>
    </dgm:pt>
    <dgm:pt modelId="{4BA06883-3EC1-44F1-8DA0-4A8D3906C15E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>
            <a:solidFill>
              <a:schemeClr val="accent5">
                <a:lumMod val="75000"/>
              </a:schemeClr>
            </a:solidFill>
          </a:endParaRPr>
        </a:p>
      </dgm:t>
    </dgm:pt>
    <dgm:pt modelId="{8A03BCEF-CFDD-41B5-BD32-5F52660B9F92}" type="parTrans" cxnId="{70F3749D-96A7-4E24-A53D-106782BDCD4A}">
      <dgm:prSet/>
      <dgm:spPr/>
      <dgm:t>
        <a:bodyPr/>
        <a:lstStyle/>
        <a:p>
          <a:endParaRPr lang="en-IN"/>
        </a:p>
      </dgm:t>
    </dgm:pt>
    <dgm:pt modelId="{5A604114-08B4-4C56-8FD6-52638E847EE8}" type="sibTrans" cxnId="{70F3749D-96A7-4E24-A53D-106782BDCD4A}">
      <dgm:prSet/>
      <dgm:spPr/>
      <dgm:t>
        <a:bodyPr/>
        <a:lstStyle/>
        <a:p>
          <a:endParaRPr lang="en-IN"/>
        </a:p>
      </dgm:t>
    </dgm:pt>
    <dgm:pt modelId="{EC90D3A8-6A0E-469F-9237-35315AD1A0D1}" type="pres">
      <dgm:prSet presAssocID="{016A5C58-6F10-475B-AD20-F20F8A6A3F62}" presName="Name0" presStyleCnt="0">
        <dgm:presLayoutVars>
          <dgm:dir/>
          <dgm:resizeHandles val="exact"/>
        </dgm:presLayoutVars>
      </dgm:prSet>
      <dgm:spPr/>
    </dgm:pt>
    <dgm:pt modelId="{8CB61470-A8BE-45AF-B568-030F78BD9C71}" type="pres">
      <dgm:prSet presAssocID="{BDDE903C-B0D3-41A4-A87C-AD5F93F85454}" presName="parTxOnly" presStyleLbl="node1" presStyleIdx="0" presStyleCnt="8" custLinFactNeighborX="-425" custLinFactNeighborY="-64414">
        <dgm:presLayoutVars>
          <dgm:bulletEnabled val="1"/>
        </dgm:presLayoutVars>
      </dgm:prSet>
      <dgm:spPr/>
    </dgm:pt>
    <dgm:pt modelId="{A5C2DB88-C06F-4A1F-A102-C29FFAFE029B}" type="pres">
      <dgm:prSet presAssocID="{2C4F2221-9372-48F1-9363-74F911A90690}" presName="parSpace" presStyleCnt="0"/>
      <dgm:spPr/>
    </dgm:pt>
    <dgm:pt modelId="{87AFEA20-F8EC-44D9-AFC9-9CEEB1C8F633}" type="pres">
      <dgm:prSet presAssocID="{5CD19421-3BF8-4BAA-BC94-C651140DB1CE}" presName="parTxOnly" presStyleLbl="node1" presStyleIdx="1" presStyleCnt="8">
        <dgm:presLayoutVars>
          <dgm:bulletEnabled val="1"/>
        </dgm:presLayoutVars>
      </dgm:prSet>
      <dgm:spPr/>
    </dgm:pt>
    <dgm:pt modelId="{0006E6F9-1FC9-43C4-A4BF-9C588E7EC57C}" type="pres">
      <dgm:prSet presAssocID="{A73698A2-6489-4E7F-9E3B-AA019EF7D72F}" presName="parSpace" presStyleCnt="0"/>
      <dgm:spPr/>
    </dgm:pt>
    <dgm:pt modelId="{FEDD17B4-F6C8-4605-BC6B-8DAB5C1B20C6}" type="pres">
      <dgm:prSet presAssocID="{ABD25DA2-7FA7-4724-A504-89E4BF11CADF}" presName="parTxOnly" presStyleLbl="node1" presStyleIdx="2" presStyleCnt="8" custLinFactNeighborY="-6340">
        <dgm:presLayoutVars>
          <dgm:bulletEnabled val="1"/>
        </dgm:presLayoutVars>
      </dgm:prSet>
      <dgm:spPr/>
    </dgm:pt>
    <dgm:pt modelId="{9F5D31C2-FEE4-48A5-89C2-6904259DD5CF}" type="pres">
      <dgm:prSet presAssocID="{321C28C8-8E17-477E-A7DD-586E2DE77383}" presName="parSpace" presStyleCnt="0"/>
      <dgm:spPr/>
    </dgm:pt>
    <dgm:pt modelId="{269FDA00-C630-4A00-98B1-AD0A61EE7CEA}" type="pres">
      <dgm:prSet presAssocID="{E66FB40C-946E-4DCB-915F-6697C3C8FF34}" presName="parTxOnly" presStyleLbl="node1" presStyleIdx="3" presStyleCnt="8" custLinFactNeighborY="-6340">
        <dgm:presLayoutVars>
          <dgm:bulletEnabled val="1"/>
        </dgm:presLayoutVars>
      </dgm:prSet>
      <dgm:spPr/>
    </dgm:pt>
    <dgm:pt modelId="{51E7065D-EDA9-4A37-98C0-9533A086547F}" type="pres">
      <dgm:prSet presAssocID="{5A6D3F57-0368-43F5-BE3D-95AB59469597}" presName="parSpace" presStyleCnt="0"/>
      <dgm:spPr/>
    </dgm:pt>
    <dgm:pt modelId="{9E204D48-F193-46A4-9491-0A9034F5A787}" type="pres">
      <dgm:prSet presAssocID="{4FAD3F94-C053-427D-AFC5-C97919B6599A}" presName="parTxOnly" presStyleLbl="node1" presStyleIdx="4" presStyleCnt="8" custLinFactNeighborY="-6340">
        <dgm:presLayoutVars>
          <dgm:bulletEnabled val="1"/>
        </dgm:presLayoutVars>
      </dgm:prSet>
      <dgm:spPr/>
    </dgm:pt>
    <dgm:pt modelId="{A6CC8A81-CFA3-4CB8-B2C5-18F47C83C96E}" type="pres">
      <dgm:prSet presAssocID="{E801593A-5256-41D3-AEED-B93EFECA0175}" presName="parSpace" presStyleCnt="0"/>
      <dgm:spPr/>
    </dgm:pt>
    <dgm:pt modelId="{8716042C-279E-445F-9D73-431CE59149B3}" type="pres">
      <dgm:prSet presAssocID="{87BDEA1D-635E-4ABC-8E3A-0B3D74138DD5}" presName="parTxOnly" presStyleLbl="node1" presStyleIdx="5" presStyleCnt="8" custLinFactNeighborY="-6340">
        <dgm:presLayoutVars>
          <dgm:bulletEnabled val="1"/>
        </dgm:presLayoutVars>
      </dgm:prSet>
      <dgm:spPr/>
    </dgm:pt>
    <dgm:pt modelId="{B2738546-915D-49F7-A04E-4FD2662DE796}" type="pres">
      <dgm:prSet presAssocID="{6CD717ED-2194-4412-9C4E-646D516950EB}" presName="parSpace" presStyleCnt="0"/>
      <dgm:spPr/>
    </dgm:pt>
    <dgm:pt modelId="{0116E7F4-F10C-4A6D-A83C-A0747C4128E4}" type="pres">
      <dgm:prSet presAssocID="{788D83F9-12F3-435F-9AC6-CADDCF0D9496}" presName="parTxOnly" presStyleLbl="node1" presStyleIdx="6" presStyleCnt="8" custLinFactNeighborY="-6340">
        <dgm:presLayoutVars>
          <dgm:bulletEnabled val="1"/>
        </dgm:presLayoutVars>
      </dgm:prSet>
      <dgm:spPr/>
    </dgm:pt>
    <dgm:pt modelId="{075135B9-E0A6-4138-8979-D30464809E14}" type="pres">
      <dgm:prSet presAssocID="{E591EBE1-D62A-47C6-93E4-B3DF6BD92EF7}" presName="parSpace" presStyleCnt="0"/>
      <dgm:spPr/>
    </dgm:pt>
    <dgm:pt modelId="{4109E786-07E0-4C8D-88A0-15EAC9F813E3}" type="pres">
      <dgm:prSet presAssocID="{4BA06883-3EC1-44F1-8DA0-4A8D3906C15E}" presName="parTxOnly" presStyleLbl="node1" presStyleIdx="7" presStyleCnt="8" custLinFactNeighborY="-6340">
        <dgm:presLayoutVars>
          <dgm:bulletEnabled val="1"/>
        </dgm:presLayoutVars>
      </dgm:prSet>
      <dgm:spPr/>
    </dgm:pt>
  </dgm:ptLst>
  <dgm:cxnLst>
    <dgm:cxn modelId="{6FF6D300-C380-4822-9CC5-679ACC00AC3D}" type="presOf" srcId="{4FAD3F94-C053-427D-AFC5-C97919B6599A}" destId="{9E204D48-F193-46A4-9491-0A9034F5A787}" srcOrd="0" destOrd="0" presId="urn:microsoft.com/office/officeart/2005/8/layout/hChevron3"/>
    <dgm:cxn modelId="{0E93FA1D-E703-434E-BBEA-BE46C14392AE}" srcId="{016A5C58-6F10-475B-AD20-F20F8A6A3F62}" destId="{E66FB40C-946E-4DCB-915F-6697C3C8FF34}" srcOrd="3" destOrd="0" parTransId="{4DB35684-870D-467A-9396-A57F8E6F4249}" sibTransId="{5A6D3F57-0368-43F5-BE3D-95AB59469597}"/>
    <dgm:cxn modelId="{A78B4772-BF32-451C-86FF-1EE4BEA41C85}" srcId="{016A5C58-6F10-475B-AD20-F20F8A6A3F62}" destId="{ABD25DA2-7FA7-4724-A504-89E4BF11CADF}" srcOrd="2" destOrd="0" parTransId="{A91EA40C-C480-47D7-9BC6-7FABC4BB598E}" sibTransId="{321C28C8-8E17-477E-A7DD-586E2DE77383}"/>
    <dgm:cxn modelId="{3046E599-A7A9-4BEE-8F91-B0EE665633C2}" srcId="{016A5C58-6F10-475B-AD20-F20F8A6A3F62}" destId="{BDDE903C-B0D3-41A4-A87C-AD5F93F85454}" srcOrd="0" destOrd="0" parTransId="{33A3A7AC-3D1B-4568-9B85-4A696F516EA5}" sibTransId="{2C4F2221-9372-48F1-9363-74F911A90690}"/>
    <dgm:cxn modelId="{70F3749D-96A7-4E24-A53D-106782BDCD4A}" srcId="{016A5C58-6F10-475B-AD20-F20F8A6A3F62}" destId="{4BA06883-3EC1-44F1-8DA0-4A8D3906C15E}" srcOrd="7" destOrd="0" parTransId="{8A03BCEF-CFDD-41B5-BD32-5F52660B9F92}" sibTransId="{5A604114-08B4-4C56-8FD6-52638E847EE8}"/>
    <dgm:cxn modelId="{8529EE9F-873B-4947-BD5F-D278094DB1ED}" type="presOf" srcId="{5CD19421-3BF8-4BAA-BC94-C651140DB1CE}" destId="{87AFEA20-F8EC-44D9-AFC9-9CEEB1C8F633}" srcOrd="0" destOrd="0" presId="urn:microsoft.com/office/officeart/2005/8/layout/hChevron3"/>
    <dgm:cxn modelId="{AC87D3A2-9CCF-4958-9A3E-6FE252882F89}" type="presOf" srcId="{87BDEA1D-635E-4ABC-8E3A-0B3D74138DD5}" destId="{8716042C-279E-445F-9D73-431CE59149B3}" srcOrd="0" destOrd="0" presId="urn:microsoft.com/office/officeart/2005/8/layout/hChevron3"/>
    <dgm:cxn modelId="{51CC0CAE-B2F6-49EF-8872-7E2C3AD965A9}" srcId="{016A5C58-6F10-475B-AD20-F20F8A6A3F62}" destId="{788D83F9-12F3-435F-9AC6-CADDCF0D9496}" srcOrd="6" destOrd="0" parTransId="{EE1B5DBC-5FE9-4DFF-B69C-291BDBC58863}" sibTransId="{E591EBE1-D62A-47C6-93E4-B3DF6BD92EF7}"/>
    <dgm:cxn modelId="{34B7EBB2-4AED-459D-AA77-DF7CE66FA8C2}" srcId="{016A5C58-6F10-475B-AD20-F20F8A6A3F62}" destId="{4FAD3F94-C053-427D-AFC5-C97919B6599A}" srcOrd="4" destOrd="0" parTransId="{56A4E656-2A52-4162-AB60-A2104CB8A6BC}" sibTransId="{E801593A-5256-41D3-AEED-B93EFECA0175}"/>
    <dgm:cxn modelId="{C8929BB4-605B-4C25-A1BC-155D84F90863}" type="presOf" srcId="{4BA06883-3EC1-44F1-8DA0-4A8D3906C15E}" destId="{4109E786-07E0-4C8D-88A0-15EAC9F813E3}" srcOrd="0" destOrd="0" presId="urn:microsoft.com/office/officeart/2005/8/layout/hChevron3"/>
    <dgm:cxn modelId="{5223B0C8-3338-4FC6-8C1F-8C084474FB66}" type="presOf" srcId="{BDDE903C-B0D3-41A4-A87C-AD5F93F85454}" destId="{8CB61470-A8BE-45AF-B568-030F78BD9C71}" srcOrd="0" destOrd="0" presId="urn:microsoft.com/office/officeart/2005/8/layout/hChevron3"/>
    <dgm:cxn modelId="{38CEECC8-4CDF-45F0-9F10-237458F28257}" type="presOf" srcId="{E66FB40C-946E-4DCB-915F-6697C3C8FF34}" destId="{269FDA00-C630-4A00-98B1-AD0A61EE7CEA}" srcOrd="0" destOrd="0" presId="urn:microsoft.com/office/officeart/2005/8/layout/hChevron3"/>
    <dgm:cxn modelId="{4538F5CC-0F8F-430B-BEDE-D8D205F0D15C}" type="presOf" srcId="{788D83F9-12F3-435F-9AC6-CADDCF0D9496}" destId="{0116E7F4-F10C-4A6D-A83C-A0747C4128E4}" srcOrd="0" destOrd="0" presId="urn:microsoft.com/office/officeart/2005/8/layout/hChevron3"/>
    <dgm:cxn modelId="{3D0EE6CD-72BF-4016-BE93-A8269B0A5A12}" type="presOf" srcId="{016A5C58-6F10-475B-AD20-F20F8A6A3F62}" destId="{EC90D3A8-6A0E-469F-9237-35315AD1A0D1}" srcOrd="0" destOrd="0" presId="urn:microsoft.com/office/officeart/2005/8/layout/hChevron3"/>
    <dgm:cxn modelId="{8EE9B7D0-E7C8-4B07-B995-A7BB4D0A85EA}" type="presOf" srcId="{ABD25DA2-7FA7-4724-A504-89E4BF11CADF}" destId="{FEDD17B4-F6C8-4605-BC6B-8DAB5C1B20C6}" srcOrd="0" destOrd="0" presId="urn:microsoft.com/office/officeart/2005/8/layout/hChevron3"/>
    <dgm:cxn modelId="{2D3F6FDF-FA60-4856-8071-C623D75ABF5B}" srcId="{016A5C58-6F10-475B-AD20-F20F8A6A3F62}" destId="{87BDEA1D-635E-4ABC-8E3A-0B3D74138DD5}" srcOrd="5" destOrd="0" parTransId="{CF4EA680-C79C-49B4-8F4E-3BA1C5CC6388}" sibTransId="{6CD717ED-2194-4412-9C4E-646D516950EB}"/>
    <dgm:cxn modelId="{B63865E1-2D7C-4D52-9BF1-40BB4C0D744E}" srcId="{016A5C58-6F10-475B-AD20-F20F8A6A3F62}" destId="{5CD19421-3BF8-4BAA-BC94-C651140DB1CE}" srcOrd="1" destOrd="0" parTransId="{1ED880C6-5DD5-4474-83E0-93DD8D9FFA63}" sibTransId="{A73698A2-6489-4E7F-9E3B-AA019EF7D72F}"/>
    <dgm:cxn modelId="{E9A381DA-A013-4D83-A378-C41214B88955}" type="presParOf" srcId="{EC90D3A8-6A0E-469F-9237-35315AD1A0D1}" destId="{8CB61470-A8BE-45AF-B568-030F78BD9C71}" srcOrd="0" destOrd="0" presId="urn:microsoft.com/office/officeart/2005/8/layout/hChevron3"/>
    <dgm:cxn modelId="{FFB41BDB-6F22-4A73-AE1E-D3D9232D7159}" type="presParOf" srcId="{EC90D3A8-6A0E-469F-9237-35315AD1A0D1}" destId="{A5C2DB88-C06F-4A1F-A102-C29FFAFE029B}" srcOrd="1" destOrd="0" presId="urn:microsoft.com/office/officeart/2005/8/layout/hChevron3"/>
    <dgm:cxn modelId="{5EFD6631-D042-4E67-ACE6-75964E62652A}" type="presParOf" srcId="{EC90D3A8-6A0E-469F-9237-35315AD1A0D1}" destId="{87AFEA20-F8EC-44D9-AFC9-9CEEB1C8F633}" srcOrd="2" destOrd="0" presId="urn:microsoft.com/office/officeart/2005/8/layout/hChevron3"/>
    <dgm:cxn modelId="{48A33ECF-7CD4-4B14-9EAA-1FC0EC587A23}" type="presParOf" srcId="{EC90D3A8-6A0E-469F-9237-35315AD1A0D1}" destId="{0006E6F9-1FC9-43C4-A4BF-9C588E7EC57C}" srcOrd="3" destOrd="0" presId="urn:microsoft.com/office/officeart/2005/8/layout/hChevron3"/>
    <dgm:cxn modelId="{7772B4FF-3517-4181-8253-D304386129BD}" type="presParOf" srcId="{EC90D3A8-6A0E-469F-9237-35315AD1A0D1}" destId="{FEDD17B4-F6C8-4605-BC6B-8DAB5C1B20C6}" srcOrd="4" destOrd="0" presId="urn:microsoft.com/office/officeart/2005/8/layout/hChevron3"/>
    <dgm:cxn modelId="{BC57CAE0-FF54-40E0-9AC1-7E02E5291416}" type="presParOf" srcId="{EC90D3A8-6A0E-469F-9237-35315AD1A0D1}" destId="{9F5D31C2-FEE4-48A5-89C2-6904259DD5CF}" srcOrd="5" destOrd="0" presId="urn:microsoft.com/office/officeart/2005/8/layout/hChevron3"/>
    <dgm:cxn modelId="{BC9D6B4C-601D-41D9-AF64-759B5A2F4CF5}" type="presParOf" srcId="{EC90D3A8-6A0E-469F-9237-35315AD1A0D1}" destId="{269FDA00-C630-4A00-98B1-AD0A61EE7CEA}" srcOrd="6" destOrd="0" presId="urn:microsoft.com/office/officeart/2005/8/layout/hChevron3"/>
    <dgm:cxn modelId="{70544E76-4C5A-4480-9282-4895732A0EEB}" type="presParOf" srcId="{EC90D3A8-6A0E-469F-9237-35315AD1A0D1}" destId="{51E7065D-EDA9-4A37-98C0-9533A086547F}" srcOrd="7" destOrd="0" presId="urn:microsoft.com/office/officeart/2005/8/layout/hChevron3"/>
    <dgm:cxn modelId="{F14E3AB9-1415-43ED-AA40-F86AB84D640D}" type="presParOf" srcId="{EC90D3A8-6A0E-469F-9237-35315AD1A0D1}" destId="{9E204D48-F193-46A4-9491-0A9034F5A787}" srcOrd="8" destOrd="0" presId="urn:microsoft.com/office/officeart/2005/8/layout/hChevron3"/>
    <dgm:cxn modelId="{348B81D0-7881-49BF-A45C-67A1EFA0A735}" type="presParOf" srcId="{EC90D3A8-6A0E-469F-9237-35315AD1A0D1}" destId="{A6CC8A81-CFA3-4CB8-B2C5-18F47C83C96E}" srcOrd="9" destOrd="0" presId="urn:microsoft.com/office/officeart/2005/8/layout/hChevron3"/>
    <dgm:cxn modelId="{3E9F74F8-47B5-4957-9F2E-3D390CB695EB}" type="presParOf" srcId="{EC90D3A8-6A0E-469F-9237-35315AD1A0D1}" destId="{8716042C-279E-445F-9D73-431CE59149B3}" srcOrd="10" destOrd="0" presId="urn:microsoft.com/office/officeart/2005/8/layout/hChevron3"/>
    <dgm:cxn modelId="{8F4A72D0-373C-4594-9391-33792A7011E5}" type="presParOf" srcId="{EC90D3A8-6A0E-469F-9237-35315AD1A0D1}" destId="{B2738546-915D-49F7-A04E-4FD2662DE796}" srcOrd="11" destOrd="0" presId="urn:microsoft.com/office/officeart/2005/8/layout/hChevron3"/>
    <dgm:cxn modelId="{F2EFA6B0-4AB3-4681-911D-2AC5C73B9F6F}" type="presParOf" srcId="{EC90D3A8-6A0E-469F-9237-35315AD1A0D1}" destId="{0116E7F4-F10C-4A6D-A83C-A0747C4128E4}" srcOrd="12" destOrd="0" presId="urn:microsoft.com/office/officeart/2005/8/layout/hChevron3"/>
    <dgm:cxn modelId="{F79520A7-E2D3-44D7-8122-0BFEADA9F466}" type="presParOf" srcId="{EC90D3A8-6A0E-469F-9237-35315AD1A0D1}" destId="{075135B9-E0A6-4138-8979-D30464809E14}" srcOrd="13" destOrd="0" presId="urn:microsoft.com/office/officeart/2005/8/layout/hChevron3"/>
    <dgm:cxn modelId="{BF5356DA-51B5-49DB-A8A9-A715B39EC63C}" type="presParOf" srcId="{EC90D3A8-6A0E-469F-9237-35315AD1A0D1}" destId="{4109E786-07E0-4C8D-88A0-15EAC9F813E3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16A5C58-6F10-475B-AD20-F20F8A6A3F62}" type="doc">
      <dgm:prSet loTypeId="urn:microsoft.com/office/officeart/2005/8/layout/hChevron3" loCatId="process" qsTypeId="urn:microsoft.com/office/officeart/2005/8/quickstyle/simple2" qsCatId="simple" csTypeId="urn:microsoft.com/office/officeart/2005/8/colors/accent1_5" csCatId="accent1" phldr="1"/>
      <dgm:spPr/>
    </dgm:pt>
    <dgm:pt modelId="{BDDE903C-B0D3-41A4-A87C-AD5F93F85454}">
      <dgm:prSet phldrT="[Text]" custT="1"/>
      <dgm:spPr/>
      <dgm:t>
        <a:bodyPr/>
        <a:lstStyle/>
        <a:p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>
              <a:solidFill>
                <a:schemeClr val="accent5">
                  <a:lumMod val="75000"/>
                </a:schemeClr>
              </a:solidFill>
            </a:rPr>
            <a:t> </a:t>
          </a:r>
        </a:p>
      </dgm:t>
    </dgm:pt>
    <dgm:pt modelId="{33A3A7AC-3D1B-4568-9B85-4A696F516EA5}" type="parTrans" cxnId="{3046E599-A7A9-4BEE-8F91-B0EE665633C2}">
      <dgm:prSet/>
      <dgm:spPr/>
      <dgm:t>
        <a:bodyPr/>
        <a:lstStyle/>
        <a:p>
          <a:endParaRPr lang="en-IN"/>
        </a:p>
      </dgm:t>
    </dgm:pt>
    <dgm:pt modelId="{2C4F2221-9372-48F1-9363-74F911A90690}" type="sibTrans" cxnId="{3046E599-A7A9-4BEE-8F91-B0EE665633C2}">
      <dgm:prSet/>
      <dgm:spPr/>
      <dgm:t>
        <a:bodyPr/>
        <a:lstStyle/>
        <a:p>
          <a:endParaRPr lang="en-IN"/>
        </a:p>
      </dgm:t>
    </dgm:pt>
    <dgm:pt modelId="{5CD19421-3BF8-4BAA-BC94-C651140DB1CE}">
      <dgm:prSet phldrT="[Text]" custT="1"/>
      <dgm:spPr/>
      <dgm:t>
        <a:bodyPr/>
        <a:lstStyle/>
        <a:p>
          <a:pPr algn="ctr"/>
          <a:r>
            <a:rPr lang="en-IN" sz="1200" b="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>
              <a:solidFill>
                <a:schemeClr val="accent5">
                  <a:lumMod val="75000"/>
                </a:schemeClr>
              </a:solidFill>
            </a:rPr>
            <a:t>NE</a:t>
          </a:r>
        </a:p>
      </dgm:t>
    </dgm:pt>
    <dgm:pt modelId="{1ED880C6-5DD5-4474-83E0-93DD8D9FFA63}" type="parTrans" cxnId="{B63865E1-2D7C-4D52-9BF1-40BB4C0D744E}">
      <dgm:prSet/>
      <dgm:spPr/>
      <dgm:t>
        <a:bodyPr/>
        <a:lstStyle/>
        <a:p>
          <a:endParaRPr lang="en-IN"/>
        </a:p>
      </dgm:t>
    </dgm:pt>
    <dgm:pt modelId="{A73698A2-6489-4E7F-9E3B-AA019EF7D72F}" type="sibTrans" cxnId="{B63865E1-2D7C-4D52-9BF1-40BB4C0D744E}">
      <dgm:prSet/>
      <dgm:spPr/>
      <dgm:t>
        <a:bodyPr/>
        <a:lstStyle/>
        <a:p>
          <a:endParaRPr lang="en-IN"/>
        </a:p>
      </dgm:t>
    </dgm:pt>
    <dgm:pt modelId="{ABD25DA2-7FA7-4724-A504-89E4BF11CADF}">
      <dgm:prSet phldrT="[Text]"/>
      <dgm:spPr/>
      <dgm:t>
        <a:bodyPr/>
        <a:lstStyle/>
        <a:p>
          <a:pPr algn="l"/>
          <a:r>
            <a:rPr lang="en-IN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gm:t>
    </dgm:pt>
    <dgm:pt modelId="{A91EA40C-C480-47D7-9BC6-7FABC4BB598E}" type="parTrans" cxnId="{A78B4772-BF32-451C-86FF-1EE4BEA41C85}">
      <dgm:prSet/>
      <dgm:spPr/>
      <dgm:t>
        <a:bodyPr/>
        <a:lstStyle/>
        <a:p>
          <a:endParaRPr lang="en-IN"/>
        </a:p>
      </dgm:t>
    </dgm:pt>
    <dgm:pt modelId="{321C28C8-8E17-477E-A7DD-586E2DE77383}" type="sibTrans" cxnId="{A78B4772-BF32-451C-86FF-1EE4BEA41C85}">
      <dgm:prSet/>
      <dgm:spPr/>
      <dgm:t>
        <a:bodyPr/>
        <a:lstStyle/>
        <a:p>
          <a:endParaRPr lang="en-IN"/>
        </a:p>
      </dgm:t>
    </dgm:pt>
    <dgm:pt modelId="{E66FB40C-946E-4DCB-915F-6697C3C8FF34}">
      <dgm:prSet phldrT="[Text]" custT="1"/>
      <dgm:spPr/>
      <dgm:t>
        <a:bodyPr/>
        <a:lstStyle/>
        <a:p>
          <a:pPr algn="l"/>
          <a:r>
            <a:rPr lang="en-IN" sz="105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gm:t>
    </dgm:pt>
    <dgm:pt modelId="{4DB35684-870D-467A-9396-A57F8E6F4249}" type="parTrans" cxnId="{0E93FA1D-E703-434E-BBEA-BE46C14392AE}">
      <dgm:prSet/>
      <dgm:spPr/>
      <dgm:t>
        <a:bodyPr/>
        <a:lstStyle/>
        <a:p>
          <a:endParaRPr lang="en-IN"/>
        </a:p>
      </dgm:t>
    </dgm:pt>
    <dgm:pt modelId="{5A6D3F57-0368-43F5-BE3D-95AB59469597}" type="sibTrans" cxnId="{0E93FA1D-E703-434E-BBEA-BE46C14392AE}">
      <dgm:prSet/>
      <dgm:spPr/>
      <dgm:t>
        <a:bodyPr/>
        <a:lstStyle/>
        <a:p>
          <a:endParaRPr lang="en-IN"/>
        </a:p>
      </dgm:t>
    </dgm:pt>
    <dgm:pt modelId="{4FAD3F94-C053-427D-AFC5-C97919B6599A}">
      <dgm:prSet phldrT="[Text]"/>
      <dgm:spPr/>
      <dgm:t>
        <a:bodyPr/>
        <a:lstStyle/>
        <a:p>
          <a:r>
            <a:rPr lang="en-IN" b="0">
              <a:solidFill>
                <a:schemeClr val="accent5">
                  <a:lumMod val="75000"/>
                </a:schemeClr>
              </a:solidFill>
            </a:rPr>
            <a:t>ESG analysis</a:t>
          </a:r>
        </a:p>
      </dgm:t>
    </dgm:pt>
    <dgm:pt modelId="{56A4E656-2A52-4162-AB60-A2104CB8A6BC}" type="parTrans" cxnId="{34B7EBB2-4AED-459D-AA77-DF7CE66FA8C2}">
      <dgm:prSet/>
      <dgm:spPr/>
      <dgm:t>
        <a:bodyPr/>
        <a:lstStyle/>
        <a:p>
          <a:endParaRPr lang="en-IN"/>
        </a:p>
      </dgm:t>
    </dgm:pt>
    <dgm:pt modelId="{E801593A-5256-41D3-AEED-B93EFECA0175}" type="sibTrans" cxnId="{34B7EBB2-4AED-459D-AA77-DF7CE66FA8C2}">
      <dgm:prSet/>
      <dgm:spPr/>
      <dgm:t>
        <a:bodyPr/>
        <a:lstStyle/>
        <a:p>
          <a:endParaRPr lang="en-IN"/>
        </a:p>
      </dgm:t>
    </dgm:pt>
    <dgm:pt modelId="{87BDEA1D-635E-4ABC-8E3A-0B3D74138DD5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Where we play?</a:t>
          </a:r>
        </a:p>
      </dgm:t>
    </dgm:pt>
    <dgm:pt modelId="{CF4EA680-C79C-49B4-8F4E-3BA1C5CC6388}" type="parTrans" cxnId="{2D3F6FDF-FA60-4856-8071-C623D75ABF5B}">
      <dgm:prSet/>
      <dgm:spPr/>
      <dgm:t>
        <a:bodyPr/>
        <a:lstStyle/>
        <a:p>
          <a:endParaRPr lang="en-IN"/>
        </a:p>
      </dgm:t>
    </dgm:pt>
    <dgm:pt modelId="{6CD717ED-2194-4412-9C4E-646D516950EB}" type="sibTrans" cxnId="{2D3F6FDF-FA60-4856-8071-C623D75ABF5B}">
      <dgm:prSet/>
      <dgm:spPr/>
      <dgm:t>
        <a:bodyPr/>
        <a:lstStyle/>
        <a:p>
          <a:endParaRPr lang="en-IN"/>
        </a:p>
      </dgm:t>
    </dgm:pt>
    <dgm:pt modelId="{788D83F9-12F3-435F-9AC6-CADDCF0D9496}">
      <dgm:prSet phldrT="[Text]"/>
      <dgm:spPr/>
      <dgm:t>
        <a:bodyPr/>
        <a:lstStyle/>
        <a:p>
          <a:r>
            <a:rPr lang="en-IN">
              <a:solidFill>
                <a:schemeClr val="accent5">
                  <a:lumMod val="75000"/>
                </a:schemeClr>
              </a:solidFill>
            </a:rPr>
            <a:t>Financials</a:t>
          </a:r>
        </a:p>
      </dgm:t>
    </dgm:pt>
    <dgm:pt modelId="{EE1B5DBC-5FE9-4DFF-B69C-291BDBC58863}" type="parTrans" cxnId="{51CC0CAE-B2F6-49EF-8872-7E2C3AD965A9}">
      <dgm:prSet/>
      <dgm:spPr/>
      <dgm:t>
        <a:bodyPr/>
        <a:lstStyle/>
        <a:p>
          <a:endParaRPr lang="en-IN"/>
        </a:p>
      </dgm:t>
    </dgm:pt>
    <dgm:pt modelId="{E591EBE1-D62A-47C6-93E4-B3DF6BD92EF7}" type="sibTrans" cxnId="{51CC0CAE-B2F6-49EF-8872-7E2C3AD965A9}">
      <dgm:prSet/>
      <dgm:spPr/>
      <dgm:t>
        <a:bodyPr/>
        <a:lstStyle/>
        <a:p>
          <a:endParaRPr lang="en-IN"/>
        </a:p>
      </dgm:t>
    </dgm:pt>
    <dgm:pt modelId="{4BA06883-3EC1-44F1-8DA0-4A8D3906C15E}">
      <dgm:prSet phldrT="[Text]"/>
      <dgm:spPr>
        <a:solidFill>
          <a:schemeClr val="tx1">
            <a:alpha val="50000"/>
          </a:schemeClr>
        </a:solidFill>
      </dgm:spPr>
      <dgm:t>
        <a:bodyPr/>
        <a:lstStyle/>
        <a:p>
          <a:r>
            <a:rPr lang="en-IN" b="1">
              <a:solidFill>
                <a:schemeClr val="bg1"/>
              </a:solidFill>
            </a:rPr>
            <a:t>What</a:t>
          </a:r>
          <a:r>
            <a:rPr lang="en-IN" b="1" baseline="0">
              <a:solidFill>
                <a:schemeClr val="bg1"/>
              </a:solidFill>
            </a:rPr>
            <a:t> next?</a:t>
          </a:r>
          <a:endParaRPr lang="en-IN" b="1">
            <a:solidFill>
              <a:schemeClr val="bg1"/>
            </a:solidFill>
          </a:endParaRPr>
        </a:p>
      </dgm:t>
    </dgm:pt>
    <dgm:pt modelId="{8A03BCEF-CFDD-41B5-BD32-5F52660B9F92}" type="parTrans" cxnId="{70F3749D-96A7-4E24-A53D-106782BDCD4A}">
      <dgm:prSet/>
      <dgm:spPr/>
      <dgm:t>
        <a:bodyPr/>
        <a:lstStyle/>
        <a:p>
          <a:endParaRPr lang="en-IN"/>
        </a:p>
      </dgm:t>
    </dgm:pt>
    <dgm:pt modelId="{5A604114-08B4-4C56-8FD6-52638E847EE8}" type="sibTrans" cxnId="{70F3749D-96A7-4E24-A53D-106782BDCD4A}">
      <dgm:prSet/>
      <dgm:spPr/>
      <dgm:t>
        <a:bodyPr/>
        <a:lstStyle/>
        <a:p>
          <a:endParaRPr lang="en-IN"/>
        </a:p>
      </dgm:t>
    </dgm:pt>
    <dgm:pt modelId="{EC90D3A8-6A0E-469F-9237-35315AD1A0D1}" type="pres">
      <dgm:prSet presAssocID="{016A5C58-6F10-475B-AD20-F20F8A6A3F62}" presName="Name0" presStyleCnt="0">
        <dgm:presLayoutVars>
          <dgm:dir/>
          <dgm:resizeHandles val="exact"/>
        </dgm:presLayoutVars>
      </dgm:prSet>
      <dgm:spPr/>
    </dgm:pt>
    <dgm:pt modelId="{8CB61470-A8BE-45AF-B568-030F78BD9C71}" type="pres">
      <dgm:prSet presAssocID="{BDDE903C-B0D3-41A4-A87C-AD5F93F85454}" presName="parTxOnly" presStyleLbl="node1" presStyleIdx="0" presStyleCnt="8" custLinFactNeighborX="-425" custLinFactNeighborY="-64414">
        <dgm:presLayoutVars>
          <dgm:bulletEnabled val="1"/>
        </dgm:presLayoutVars>
      </dgm:prSet>
      <dgm:spPr/>
    </dgm:pt>
    <dgm:pt modelId="{A5C2DB88-C06F-4A1F-A102-C29FFAFE029B}" type="pres">
      <dgm:prSet presAssocID="{2C4F2221-9372-48F1-9363-74F911A90690}" presName="parSpace" presStyleCnt="0"/>
      <dgm:spPr/>
    </dgm:pt>
    <dgm:pt modelId="{87AFEA20-F8EC-44D9-AFC9-9CEEB1C8F633}" type="pres">
      <dgm:prSet presAssocID="{5CD19421-3BF8-4BAA-BC94-C651140DB1CE}" presName="parTxOnly" presStyleLbl="node1" presStyleIdx="1" presStyleCnt="8">
        <dgm:presLayoutVars>
          <dgm:bulletEnabled val="1"/>
        </dgm:presLayoutVars>
      </dgm:prSet>
      <dgm:spPr/>
    </dgm:pt>
    <dgm:pt modelId="{0006E6F9-1FC9-43C4-A4BF-9C588E7EC57C}" type="pres">
      <dgm:prSet presAssocID="{A73698A2-6489-4E7F-9E3B-AA019EF7D72F}" presName="parSpace" presStyleCnt="0"/>
      <dgm:spPr/>
    </dgm:pt>
    <dgm:pt modelId="{FEDD17B4-F6C8-4605-BC6B-8DAB5C1B20C6}" type="pres">
      <dgm:prSet presAssocID="{ABD25DA2-7FA7-4724-A504-89E4BF11CADF}" presName="parTxOnly" presStyleLbl="node1" presStyleIdx="2" presStyleCnt="8" custLinFactNeighborY="-6340">
        <dgm:presLayoutVars>
          <dgm:bulletEnabled val="1"/>
        </dgm:presLayoutVars>
      </dgm:prSet>
      <dgm:spPr/>
    </dgm:pt>
    <dgm:pt modelId="{9F5D31C2-FEE4-48A5-89C2-6904259DD5CF}" type="pres">
      <dgm:prSet presAssocID="{321C28C8-8E17-477E-A7DD-586E2DE77383}" presName="parSpace" presStyleCnt="0"/>
      <dgm:spPr/>
    </dgm:pt>
    <dgm:pt modelId="{269FDA00-C630-4A00-98B1-AD0A61EE7CEA}" type="pres">
      <dgm:prSet presAssocID="{E66FB40C-946E-4DCB-915F-6697C3C8FF34}" presName="parTxOnly" presStyleLbl="node1" presStyleIdx="3" presStyleCnt="8" custLinFactNeighborY="-6340">
        <dgm:presLayoutVars>
          <dgm:bulletEnabled val="1"/>
        </dgm:presLayoutVars>
      </dgm:prSet>
      <dgm:spPr/>
    </dgm:pt>
    <dgm:pt modelId="{51E7065D-EDA9-4A37-98C0-9533A086547F}" type="pres">
      <dgm:prSet presAssocID="{5A6D3F57-0368-43F5-BE3D-95AB59469597}" presName="parSpace" presStyleCnt="0"/>
      <dgm:spPr/>
    </dgm:pt>
    <dgm:pt modelId="{9E204D48-F193-46A4-9491-0A9034F5A787}" type="pres">
      <dgm:prSet presAssocID="{4FAD3F94-C053-427D-AFC5-C97919B6599A}" presName="parTxOnly" presStyleLbl="node1" presStyleIdx="4" presStyleCnt="8" custLinFactNeighborY="-6340">
        <dgm:presLayoutVars>
          <dgm:bulletEnabled val="1"/>
        </dgm:presLayoutVars>
      </dgm:prSet>
      <dgm:spPr/>
    </dgm:pt>
    <dgm:pt modelId="{A6CC8A81-CFA3-4CB8-B2C5-18F47C83C96E}" type="pres">
      <dgm:prSet presAssocID="{E801593A-5256-41D3-AEED-B93EFECA0175}" presName="parSpace" presStyleCnt="0"/>
      <dgm:spPr/>
    </dgm:pt>
    <dgm:pt modelId="{8716042C-279E-445F-9D73-431CE59149B3}" type="pres">
      <dgm:prSet presAssocID="{87BDEA1D-635E-4ABC-8E3A-0B3D74138DD5}" presName="parTxOnly" presStyleLbl="node1" presStyleIdx="5" presStyleCnt="8" custLinFactNeighborY="-6340">
        <dgm:presLayoutVars>
          <dgm:bulletEnabled val="1"/>
        </dgm:presLayoutVars>
      </dgm:prSet>
      <dgm:spPr/>
    </dgm:pt>
    <dgm:pt modelId="{B2738546-915D-49F7-A04E-4FD2662DE796}" type="pres">
      <dgm:prSet presAssocID="{6CD717ED-2194-4412-9C4E-646D516950EB}" presName="parSpace" presStyleCnt="0"/>
      <dgm:spPr/>
    </dgm:pt>
    <dgm:pt modelId="{0116E7F4-F10C-4A6D-A83C-A0747C4128E4}" type="pres">
      <dgm:prSet presAssocID="{788D83F9-12F3-435F-9AC6-CADDCF0D9496}" presName="parTxOnly" presStyleLbl="node1" presStyleIdx="6" presStyleCnt="8" custLinFactNeighborY="-6340">
        <dgm:presLayoutVars>
          <dgm:bulletEnabled val="1"/>
        </dgm:presLayoutVars>
      </dgm:prSet>
      <dgm:spPr/>
    </dgm:pt>
    <dgm:pt modelId="{075135B9-E0A6-4138-8979-D30464809E14}" type="pres">
      <dgm:prSet presAssocID="{E591EBE1-D62A-47C6-93E4-B3DF6BD92EF7}" presName="parSpace" presStyleCnt="0"/>
      <dgm:spPr/>
    </dgm:pt>
    <dgm:pt modelId="{4109E786-07E0-4C8D-88A0-15EAC9F813E3}" type="pres">
      <dgm:prSet presAssocID="{4BA06883-3EC1-44F1-8DA0-4A8D3906C15E}" presName="parTxOnly" presStyleLbl="node1" presStyleIdx="7" presStyleCnt="8" custLinFactNeighborY="-6340">
        <dgm:presLayoutVars>
          <dgm:bulletEnabled val="1"/>
        </dgm:presLayoutVars>
      </dgm:prSet>
      <dgm:spPr/>
    </dgm:pt>
  </dgm:ptLst>
  <dgm:cxnLst>
    <dgm:cxn modelId="{6FF6D300-C380-4822-9CC5-679ACC00AC3D}" type="presOf" srcId="{4FAD3F94-C053-427D-AFC5-C97919B6599A}" destId="{9E204D48-F193-46A4-9491-0A9034F5A787}" srcOrd="0" destOrd="0" presId="urn:microsoft.com/office/officeart/2005/8/layout/hChevron3"/>
    <dgm:cxn modelId="{0E93FA1D-E703-434E-BBEA-BE46C14392AE}" srcId="{016A5C58-6F10-475B-AD20-F20F8A6A3F62}" destId="{E66FB40C-946E-4DCB-915F-6697C3C8FF34}" srcOrd="3" destOrd="0" parTransId="{4DB35684-870D-467A-9396-A57F8E6F4249}" sibTransId="{5A6D3F57-0368-43F5-BE3D-95AB59469597}"/>
    <dgm:cxn modelId="{A78B4772-BF32-451C-86FF-1EE4BEA41C85}" srcId="{016A5C58-6F10-475B-AD20-F20F8A6A3F62}" destId="{ABD25DA2-7FA7-4724-A504-89E4BF11CADF}" srcOrd="2" destOrd="0" parTransId="{A91EA40C-C480-47D7-9BC6-7FABC4BB598E}" sibTransId="{321C28C8-8E17-477E-A7DD-586E2DE77383}"/>
    <dgm:cxn modelId="{3046E599-A7A9-4BEE-8F91-B0EE665633C2}" srcId="{016A5C58-6F10-475B-AD20-F20F8A6A3F62}" destId="{BDDE903C-B0D3-41A4-A87C-AD5F93F85454}" srcOrd="0" destOrd="0" parTransId="{33A3A7AC-3D1B-4568-9B85-4A696F516EA5}" sibTransId="{2C4F2221-9372-48F1-9363-74F911A90690}"/>
    <dgm:cxn modelId="{70F3749D-96A7-4E24-A53D-106782BDCD4A}" srcId="{016A5C58-6F10-475B-AD20-F20F8A6A3F62}" destId="{4BA06883-3EC1-44F1-8DA0-4A8D3906C15E}" srcOrd="7" destOrd="0" parTransId="{8A03BCEF-CFDD-41B5-BD32-5F52660B9F92}" sibTransId="{5A604114-08B4-4C56-8FD6-52638E847EE8}"/>
    <dgm:cxn modelId="{8529EE9F-873B-4947-BD5F-D278094DB1ED}" type="presOf" srcId="{5CD19421-3BF8-4BAA-BC94-C651140DB1CE}" destId="{87AFEA20-F8EC-44D9-AFC9-9CEEB1C8F633}" srcOrd="0" destOrd="0" presId="urn:microsoft.com/office/officeart/2005/8/layout/hChevron3"/>
    <dgm:cxn modelId="{AC87D3A2-9CCF-4958-9A3E-6FE252882F89}" type="presOf" srcId="{87BDEA1D-635E-4ABC-8E3A-0B3D74138DD5}" destId="{8716042C-279E-445F-9D73-431CE59149B3}" srcOrd="0" destOrd="0" presId="urn:microsoft.com/office/officeart/2005/8/layout/hChevron3"/>
    <dgm:cxn modelId="{51CC0CAE-B2F6-49EF-8872-7E2C3AD965A9}" srcId="{016A5C58-6F10-475B-AD20-F20F8A6A3F62}" destId="{788D83F9-12F3-435F-9AC6-CADDCF0D9496}" srcOrd="6" destOrd="0" parTransId="{EE1B5DBC-5FE9-4DFF-B69C-291BDBC58863}" sibTransId="{E591EBE1-D62A-47C6-93E4-B3DF6BD92EF7}"/>
    <dgm:cxn modelId="{34B7EBB2-4AED-459D-AA77-DF7CE66FA8C2}" srcId="{016A5C58-6F10-475B-AD20-F20F8A6A3F62}" destId="{4FAD3F94-C053-427D-AFC5-C97919B6599A}" srcOrd="4" destOrd="0" parTransId="{56A4E656-2A52-4162-AB60-A2104CB8A6BC}" sibTransId="{E801593A-5256-41D3-AEED-B93EFECA0175}"/>
    <dgm:cxn modelId="{C8929BB4-605B-4C25-A1BC-155D84F90863}" type="presOf" srcId="{4BA06883-3EC1-44F1-8DA0-4A8D3906C15E}" destId="{4109E786-07E0-4C8D-88A0-15EAC9F813E3}" srcOrd="0" destOrd="0" presId="urn:microsoft.com/office/officeart/2005/8/layout/hChevron3"/>
    <dgm:cxn modelId="{5223B0C8-3338-4FC6-8C1F-8C084474FB66}" type="presOf" srcId="{BDDE903C-B0D3-41A4-A87C-AD5F93F85454}" destId="{8CB61470-A8BE-45AF-B568-030F78BD9C71}" srcOrd="0" destOrd="0" presId="urn:microsoft.com/office/officeart/2005/8/layout/hChevron3"/>
    <dgm:cxn modelId="{38CEECC8-4CDF-45F0-9F10-237458F28257}" type="presOf" srcId="{E66FB40C-946E-4DCB-915F-6697C3C8FF34}" destId="{269FDA00-C630-4A00-98B1-AD0A61EE7CEA}" srcOrd="0" destOrd="0" presId="urn:microsoft.com/office/officeart/2005/8/layout/hChevron3"/>
    <dgm:cxn modelId="{4538F5CC-0F8F-430B-BEDE-D8D205F0D15C}" type="presOf" srcId="{788D83F9-12F3-435F-9AC6-CADDCF0D9496}" destId="{0116E7F4-F10C-4A6D-A83C-A0747C4128E4}" srcOrd="0" destOrd="0" presId="urn:microsoft.com/office/officeart/2005/8/layout/hChevron3"/>
    <dgm:cxn modelId="{3D0EE6CD-72BF-4016-BE93-A8269B0A5A12}" type="presOf" srcId="{016A5C58-6F10-475B-AD20-F20F8A6A3F62}" destId="{EC90D3A8-6A0E-469F-9237-35315AD1A0D1}" srcOrd="0" destOrd="0" presId="urn:microsoft.com/office/officeart/2005/8/layout/hChevron3"/>
    <dgm:cxn modelId="{8EE9B7D0-E7C8-4B07-B995-A7BB4D0A85EA}" type="presOf" srcId="{ABD25DA2-7FA7-4724-A504-89E4BF11CADF}" destId="{FEDD17B4-F6C8-4605-BC6B-8DAB5C1B20C6}" srcOrd="0" destOrd="0" presId="urn:microsoft.com/office/officeart/2005/8/layout/hChevron3"/>
    <dgm:cxn modelId="{2D3F6FDF-FA60-4856-8071-C623D75ABF5B}" srcId="{016A5C58-6F10-475B-AD20-F20F8A6A3F62}" destId="{87BDEA1D-635E-4ABC-8E3A-0B3D74138DD5}" srcOrd="5" destOrd="0" parTransId="{CF4EA680-C79C-49B4-8F4E-3BA1C5CC6388}" sibTransId="{6CD717ED-2194-4412-9C4E-646D516950EB}"/>
    <dgm:cxn modelId="{B63865E1-2D7C-4D52-9BF1-40BB4C0D744E}" srcId="{016A5C58-6F10-475B-AD20-F20F8A6A3F62}" destId="{5CD19421-3BF8-4BAA-BC94-C651140DB1CE}" srcOrd="1" destOrd="0" parTransId="{1ED880C6-5DD5-4474-83E0-93DD8D9FFA63}" sibTransId="{A73698A2-6489-4E7F-9E3B-AA019EF7D72F}"/>
    <dgm:cxn modelId="{E9A381DA-A013-4D83-A378-C41214B88955}" type="presParOf" srcId="{EC90D3A8-6A0E-469F-9237-35315AD1A0D1}" destId="{8CB61470-A8BE-45AF-B568-030F78BD9C71}" srcOrd="0" destOrd="0" presId="urn:microsoft.com/office/officeart/2005/8/layout/hChevron3"/>
    <dgm:cxn modelId="{FFB41BDB-6F22-4A73-AE1E-D3D9232D7159}" type="presParOf" srcId="{EC90D3A8-6A0E-469F-9237-35315AD1A0D1}" destId="{A5C2DB88-C06F-4A1F-A102-C29FFAFE029B}" srcOrd="1" destOrd="0" presId="urn:microsoft.com/office/officeart/2005/8/layout/hChevron3"/>
    <dgm:cxn modelId="{5EFD6631-D042-4E67-ACE6-75964E62652A}" type="presParOf" srcId="{EC90D3A8-6A0E-469F-9237-35315AD1A0D1}" destId="{87AFEA20-F8EC-44D9-AFC9-9CEEB1C8F633}" srcOrd="2" destOrd="0" presId="urn:microsoft.com/office/officeart/2005/8/layout/hChevron3"/>
    <dgm:cxn modelId="{48A33ECF-7CD4-4B14-9EAA-1FC0EC587A23}" type="presParOf" srcId="{EC90D3A8-6A0E-469F-9237-35315AD1A0D1}" destId="{0006E6F9-1FC9-43C4-A4BF-9C588E7EC57C}" srcOrd="3" destOrd="0" presId="urn:microsoft.com/office/officeart/2005/8/layout/hChevron3"/>
    <dgm:cxn modelId="{7772B4FF-3517-4181-8253-D304386129BD}" type="presParOf" srcId="{EC90D3A8-6A0E-469F-9237-35315AD1A0D1}" destId="{FEDD17B4-F6C8-4605-BC6B-8DAB5C1B20C6}" srcOrd="4" destOrd="0" presId="urn:microsoft.com/office/officeart/2005/8/layout/hChevron3"/>
    <dgm:cxn modelId="{BC57CAE0-FF54-40E0-9AC1-7E02E5291416}" type="presParOf" srcId="{EC90D3A8-6A0E-469F-9237-35315AD1A0D1}" destId="{9F5D31C2-FEE4-48A5-89C2-6904259DD5CF}" srcOrd="5" destOrd="0" presId="urn:microsoft.com/office/officeart/2005/8/layout/hChevron3"/>
    <dgm:cxn modelId="{BC9D6B4C-601D-41D9-AF64-759B5A2F4CF5}" type="presParOf" srcId="{EC90D3A8-6A0E-469F-9237-35315AD1A0D1}" destId="{269FDA00-C630-4A00-98B1-AD0A61EE7CEA}" srcOrd="6" destOrd="0" presId="urn:microsoft.com/office/officeart/2005/8/layout/hChevron3"/>
    <dgm:cxn modelId="{70544E76-4C5A-4480-9282-4895732A0EEB}" type="presParOf" srcId="{EC90D3A8-6A0E-469F-9237-35315AD1A0D1}" destId="{51E7065D-EDA9-4A37-98C0-9533A086547F}" srcOrd="7" destOrd="0" presId="urn:microsoft.com/office/officeart/2005/8/layout/hChevron3"/>
    <dgm:cxn modelId="{F14E3AB9-1415-43ED-AA40-F86AB84D640D}" type="presParOf" srcId="{EC90D3A8-6A0E-469F-9237-35315AD1A0D1}" destId="{9E204D48-F193-46A4-9491-0A9034F5A787}" srcOrd="8" destOrd="0" presId="urn:microsoft.com/office/officeart/2005/8/layout/hChevron3"/>
    <dgm:cxn modelId="{348B81D0-7881-49BF-A45C-67A1EFA0A735}" type="presParOf" srcId="{EC90D3A8-6A0E-469F-9237-35315AD1A0D1}" destId="{A6CC8A81-CFA3-4CB8-B2C5-18F47C83C96E}" srcOrd="9" destOrd="0" presId="urn:microsoft.com/office/officeart/2005/8/layout/hChevron3"/>
    <dgm:cxn modelId="{3E9F74F8-47B5-4957-9F2E-3D390CB695EB}" type="presParOf" srcId="{EC90D3A8-6A0E-469F-9237-35315AD1A0D1}" destId="{8716042C-279E-445F-9D73-431CE59149B3}" srcOrd="10" destOrd="0" presId="urn:microsoft.com/office/officeart/2005/8/layout/hChevron3"/>
    <dgm:cxn modelId="{8F4A72D0-373C-4594-9391-33792A7011E5}" type="presParOf" srcId="{EC90D3A8-6A0E-469F-9237-35315AD1A0D1}" destId="{B2738546-915D-49F7-A04E-4FD2662DE796}" srcOrd="11" destOrd="0" presId="urn:microsoft.com/office/officeart/2005/8/layout/hChevron3"/>
    <dgm:cxn modelId="{F2EFA6B0-4AB3-4681-911D-2AC5C73B9F6F}" type="presParOf" srcId="{EC90D3A8-6A0E-469F-9237-35315AD1A0D1}" destId="{0116E7F4-F10C-4A6D-A83C-A0747C4128E4}" srcOrd="12" destOrd="0" presId="urn:microsoft.com/office/officeart/2005/8/layout/hChevron3"/>
    <dgm:cxn modelId="{F79520A7-E2D3-44D7-8122-0BFEADA9F466}" type="presParOf" srcId="{EC90D3A8-6A0E-469F-9237-35315AD1A0D1}" destId="{075135B9-E0A6-4138-8979-D30464809E14}" srcOrd="13" destOrd="0" presId="urn:microsoft.com/office/officeart/2005/8/layout/hChevron3"/>
    <dgm:cxn modelId="{BF5356DA-51B5-49DB-A8A9-A715B39EC63C}" type="presParOf" srcId="{EC90D3A8-6A0E-469F-9237-35315AD1A0D1}" destId="{4109E786-07E0-4C8D-88A0-15EAC9F813E3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B61470-A8BE-45AF-B568-030F78BD9C71}">
      <dsp:nvSpPr>
        <dsp:cNvPr id="0" name=""/>
        <dsp:cNvSpPr/>
      </dsp:nvSpPr>
      <dsp:spPr>
        <a:xfrm>
          <a:off x="4179" y="0"/>
          <a:ext cx="1758996" cy="237246"/>
        </a:xfrm>
        <a:prstGeom prst="homePlate">
          <a:avLst/>
        </a:prstGeom>
        <a:solidFill>
          <a:schemeClr val="tx1">
            <a:alpha val="9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bg1"/>
              </a:solidFill>
            </a:rPr>
            <a:t>Industry</a:t>
          </a:r>
          <a:r>
            <a:rPr lang="en-IN" sz="1100" b="1" kern="1200">
              <a:solidFill>
                <a:schemeClr val="accent5">
                  <a:lumMod val="75000"/>
                </a:schemeClr>
              </a:solidFill>
            </a:rPr>
            <a:t> </a:t>
          </a:r>
        </a:p>
      </dsp:txBody>
      <dsp:txXfrm>
        <a:off x="4179" y="0"/>
        <a:ext cx="1699685" cy="237246"/>
      </dsp:txXfrm>
    </dsp:sp>
    <dsp:sp modelId="{87AFEA20-F8EC-44D9-AFC9-9CEEB1C8F633}">
      <dsp:nvSpPr>
        <dsp:cNvPr id="0" name=""/>
        <dsp:cNvSpPr/>
      </dsp:nvSpPr>
      <dsp:spPr>
        <a:xfrm>
          <a:off x="141287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5714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NE</a:t>
          </a:r>
        </a:p>
      </dsp:txBody>
      <dsp:txXfrm>
        <a:off x="1531494" y="0"/>
        <a:ext cx="1521750" cy="237246"/>
      </dsp:txXfrm>
    </dsp:sp>
    <dsp:sp modelId="{FEDD17B4-F6C8-4605-BC6B-8DAB5C1B20C6}">
      <dsp:nvSpPr>
        <dsp:cNvPr id="0" name=""/>
        <dsp:cNvSpPr/>
      </dsp:nvSpPr>
      <dsp:spPr>
        <a:xfrm>
          <a:off x="2820069" y="0"/>
          <a:ext cx="1758996" cy="237246"/>
        </a:xfrm>
        <a:prstGeom prst="chevron">
          <a:avLst/>
        </a:prstGeom>
        <a:solidFill>
          <a:srgbClr val="F3D713">
            <a:alpha val="78571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tx1"/>
              </a:solidFill>
            </a:rPr>
            <a:t>    Our consumers</a:t>
          </a:r>
        </a:p>
      </dsp:txBody>
      <dsp:txXfrm>
        <a:off x="2938692" y="0"/>
        <a:ext cx="1521750" cy="237246"/>
      </dsp:txXfrm>
    </dsp:sp>
    <dsp:sp modelId="{269FDA00-C630-4A00-98B1-AD0A61EE7CEA}">
      <dsp:nvSpPr>
        <dsp:cNvPr id="0" name=""/>
        <dsp:cNvSpPr/>
      </dsp:nvSpPr>
      <dsp:spPr>
        <a:xfrm>
          <a:off x="422726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714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sp:txBody>
      <dsp:txXfrm>
        <a:off x="4345889" y="0"/>
        <a:ext cx="1521750" cy="237246"/>
      </dsp:txXfrm>
    </dsp:sp>
    <dsp:sp modelId="{9E204D48-F193-46A4-9491-0A9034F5A787}">
      <dsp:nvSpPr>
        <dsp:cNvPr id="0" name=""/>
        <dsp:cNvSpPr/>
      </dsp:nvSpPr>
      <dsp:spPr>
        <a:xfrm>
          <a:off x="5634463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285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ESG analysis</a:t>
          </a:r>
        </a:p>
      </dsp:txBody>
      <dsp:txXfrm>
        <a:off x="5753086" y="0"/>
        <a:ext cx="1521750" cy="237246"/>
      </dsp:txXfrm>
    </dsp:sp>
    <dsp:sp modelId="{8716042C-279E-445F-9D73-431CE59149B3}">
      <dsp:nvSpPr>
        <dsp:cNvPr id="0" name=""/>
        <dsp:cNvSpPr/>
      </dsp:nvSpPr>
      <dsp:spPr>
        <a:xfrm>
          <a:off x="704166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8571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ere we play?</a:t>
          </a:r>
        </a:p>
      </dsp:txBody>
      <dsp:txXfrm>
        <a:off x="7160284" y="0"/>
        <a:ext cx="1521750" cy="237246"/>
      </dsp:txXfrm>
    </dsp:sp>
    <dsp:sp modelId="{0116E7F4-F10C-4A6D-A83C-A0747C4128E4}">
      <dsp:nvSpPr>
        <dsp:cNvPr id="0" name=""/>
        <dsp:cNvSpPr/>
      </dsp:nvSpPr>
      <dsp:spPr>
        <a:xfrm>
          <a:off x="8448858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34286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Financials</a:t>
          </a:r>
        </a:p>
      </dsp:txBody>
      <dsp:txXfrm>
        <a:off x="8567481" y="0"/>
        <a:ext cx="1521750" cy="237246"/>
      </dsp:txXfrm>
    </dsp:sp>
    <dsp:sp modelId="{4109E786-07E0-4C8D-88A0-15EAC9F813E3}">
      <dsp:nvSpPr>
        <dsp:cNvPr id="0" name=""/>
        <dsp:cNvSpPr/>
      </dsp:nvSpPr>
      <dsp:spPr>
        <a:xfrm>
          <a:off x="985605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sz="1200" kern="1200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 sz="1200" kern="1200">
            <a:solidFill>
              <a:schemeClr val="accent5">
                <a:lumMod val="75000"/>
              </a:schemeClr>
            </a:solidFill>
          </a:endParaRPr>
        </a:p>
      </dsp:txBody>
      <dsp:txXfrm>
        <a:off x="9974679" y="0"/>
        <a:ext cx="1521750" cy="2372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48CA38-FEE4-451E-B815-7127AEA29DEE}">
      <dsp:nvSpPr>
        <dsp:cNvPr id="0" name=""/>
        <dsp:cNvSpPr/>
      </dsp:nvSpPr>
      <dsp:spPr>
        <a:xfrm>
          <a:off x="1190546" y="12702"/>
          <a:ext cx="793698" cy="672456"/>
        </a:xfrm>
        <a:prstGeom prst="trapezoid">
          <a:avLst>
            <a:gd name="adj" fmla="val 59015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200" kern="1200">
            <a:solidFill>
              <a:schemeClr val="tx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tx1"/>
              </a:solidFill>
            </a:rPr>
            <a:t>High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>
              <a:solidFill>
                <a:schemeClr val="tx1"/>
              </a:solidFill>
            </a:rPr>
            <a:t> (3)</a:t>
          </a:r>
        </a:p>
      </dsp:txBody>
      <dsp:txXfrm>
        <a:off x="1190546" y="12702"/>
        <a:ext cx="793698" cy="672456"/>
      </dsp:txXfrm>
    </dsp:sp>
    <dsp:sp modelId="{298B9630-CC96-4F58-9503-38BD1CA931C3}">
      <dsp:nvSpPr>
        <dsp:cNvPr id="0" name=""/>
        <dsp:cNvSpPr/>
      </dsp:nvSpPr>
      <dsp:spPr>
        <a:xfrm>
          <a:off x="793698" y="672456"/>
          <a:ext cx="1587396" cy="672456"/>
        </a:xfrm>
        <a:prstGeom prst="trapezoid">
          <a:avLst>
            <a:gd name="adj" fmla="val 59015"/>
          </a:avLst>
        </a:prstGeom>
        <a:solidFill>
          <a:schemeClr val="accent1">
            <a:shade val="80000"/>
            <a:hueOff val="-70608"/>
            <a:satOff val="-3616"/>
            <a:lumOff val="1133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/>
            <a:t>4.8-28 L Upper mi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/>
            <a:t>( 23%)</a:t>
          </a:r>
        </a:p>
      </dsp:txBody>
      <dsp:txXfrm>
        <a:off x="1071492" y="672456"/>
        <a:ext cx="1031807" cy="672456"/>
      </dsp:txXfrm>
    </dsp:sp>
    <dsp:sp modelId="{19AAD203-F851-4B97-82A5-9608844379BF}">
      <dsp:nvSpPr>
        <dsp:cNvPr id="0" name=""/>
        <dsp:cNvSpPr/>
      </dsp:nvSpPr>
      <dsp:spPr>
        <a:xfrm>
          <a:off x="396848" y="1344913"/>
          <a:ext cx="2381094" cy="672456"/>
        </a:xfrm>
        <a:prstGeom prst="trapezoid">
          <a:avLst>
            <a:gd name="adj" fmla="val 59015"/>
          </a:avLst>
        </a:prstGeom>
        <a:solidFill>
          <a:schemeClr val="accent1">
            <a:shade val="80000"/>
            <a:hueOff val="-141217"/>
            <a:satOff val="-7233"/>
            <a:lumOff val="2266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/>
            <a:t>2.4-4.8L(Lower mid) </a:t>
          </a:r>
          <a:r>
            <a:rPr lang="en-IN" sz="1400" b="1" kern="1200"/>
            <a:t>(29%)</a:t>
          </a:r>
        </a:p>
      </dsp:txBody>
      <dsp:txXfrm>
        <a:off x="813540" y="1344913"/>
        <a:ext cx="1547711" cy="672456"/>
      </dsp:txXfrm>
    </dsp:sp>
    <dsp:sp modelId="{76DE2153-076E-44FD-AC2B-574AE746DFA0}">
      <dsp:nvSpPr>
        <dsp:cNvPr id="0" name=""/>
        <dsp:cNvSpPr/>
      </dsp:nvSpPr>
      <dsp:spPr>
        <a:xfrm>
          <a:off x="0" y="2017369"/>
          <a:ext cx="3174792" cy="672456"/>
        </a:xfrm>
        <a:prstGeom prst="trapezoid">
          <a:avLst>
            <a:gd name="adj" fmla="val 59015"/>
          </a:avLst>
        </a:prstGeom>
        <a:solidFill>
          <a:schemeClr val="accent1">
            <a:shade val="80000"/>
            <a:hueOff val="-211825"/>
            <a:satOff val="-10849"/>
            <a:lumOff val="340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/>
            <a:t>&lt;2.4L</a:t>
          </a:r>
          <a:r>
            <a:rPr lang="en-IN" sz="1400" b="1" kern="1200"/>
            <a:t>(45%)</a:t>
          </a:r>
        </a:p>
      </dsp:txBody>
      <dsp:txXfrm>
        <a:off x="555588" y="2017369"/>
        <a:ext cx="2063614" cy="67245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B61470-A8BE-45AF-B568-030F78BD9C71}">
      <dsp:nvSpPr>
        <dsp:cNvPr id="0" name=""/>
        <dsp:cNvSpPr/>
      </dsp:nvSpPr>
      <dsp:spPr>
        <a:xfrm>
          <a:off x="4179" y="0"/>
          <a:ext cx="1758996" cy="237246"/>
        </a:xfrm>
        <a:prstGeom prst="homePlat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 kern="1200">
              <a:solidFill>
                <a:schemeClr val="accent5">
                  <a:lumMod val="75000"/>
                </a:schemeClr>
              </a:solidFill>
            </a:rPr>
            <a:t> </a:t>
          </a:r>
        </a:p>
      </dsp:txBody>
      <dsp:txXfrm>
        <a:off x="4179" y="0"/>
        <a:ext cx="1699685" cy="237246"/>
      </dsp:txXfrm>
    </dsp:sp>
    <dsp:sp modelId="{87AFEA20-F8EC-44D9-AFC9-9CEEB1C8F633}">
      <dsp:nvSpPr>
        <dsp:cNvPr id="0" name=""/>
        <dsp:cNvSpPr/>
      </dsp:nvSpPr>
      <dsp:spPr>
        <a:xfrm>
          <a:off x="1412871" y="0"/>
          <a:ext cx="1758996" cy="237246"/>
        </a:xfrm>
        <a:prstGeom prst="chevron">
          <a:avLst/>
        </a:prstGeom>
        <a:solidFill>
          <a:srgbClr val="010101">
            <a:alpha val="84286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>
              <a:solidFill>
                <a:schemeClr val="bg1"/>
              </a:solidFill>
            </a:rPr>
            <a:t>ABI </a:t>
          </a:r>
          <a:r>
            <a:rPr lang="en-IN" sz="1100" b="1" kern="1200">
              <a:solidFill>
                <a:schemeClr val="bg1"/>
              </a:solidFill>
            </a:rPr>
            <a:t>In </a:t>
          </a:r>
          <a:r>
            <a:rPr lang="en-IN" sz="1200" b="1" kern="1200">
              <a:solidFill>
                <a:schemeClr val="bg1"/>
              </a:solidFill>
            </a:rPr>
            <a:t>NE</a:t>
          </a:r>
        </a:p>
      </dsp:txBody>
      <dsp:txXfrm>
        <a:off x="1531494" y="0"/>
        <a:ext cx="1521750" cy="237246"/>
      </dsp:txXfrm>
    </dsp:sp>
    <dsp:sp modelId="{FEDD17B4-F6C8-4605-BC6B-8DAB5C1B20C6}">
      <dsp:nvSpPr>
        <dsp:cNvPr id="0" name=""/>
        <dsp:cNvSpPr/>
      </dsp:nvSpPr>
      <dsp:spPr>
        <a:xfrm>
          <a:off x="2820069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1429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sp:txBody>
      <dsp:txXfrm>
        <a:off x="2938692" y="0"/>
        <a:ext cx="1521750" cy="237246"/>
      </dsp:txXfrm>
    </dsp:sp>
    <dsp:sp modelId="{269FDA00-C630-4A00-98B1-AD0A61EE7CEA}">
      <dsp:nvSpPr>
        <dsp:cNvPr id="0" name=""/>
        <dsp:cNvSpPr/>
      </dsp:nvSpPr>
      <dsp:spPr>
        <a:xfrm>
          <a:off x="422726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714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sp:txBody>
      <dsp:txXfrm>
        <a:off x="4345889" y="0"/>
        <a:ext cx="1521750" cy="237246"/>
      </dsp:txXfrm>
    </dsp:sp>
    <dsp:sp modelId="{9E204D48-F193-46A4-9491-0A9034F5A787}">
      <dsp:nvSpPr>
        <dsp:cNvPr id="0" name=""/>
        <dsp:cNvSpPr/>
      </dsp:nvSpPr>
      <dsp:spPr>
        <a:xfrm>
          <a:off x="5634463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285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ESG analysis</a:t>
          </a:r>
        </a:p>
      </dsp:txBody>
      <dsp:txXfrm>
        <a:off x="5753086" y="0"/>
        <a:ext cx="1521750" cy="237246"/>
      </dsp:txXfrm>
    </dsp:sp>
    <dsp:sp modelId="{8716042C-279E-445F-9D73-431CE59149B3}">
      <dsp:nvSpPr>
        <dsp:cNvPr id="0" name=""/>
        <dsp:cNvSpPr/>
      </dsp:nvSpPr>
      <dsp:spPr>
        <a:xfrm>
          <a:off x="704166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8571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ere we play?</a:t>
          </a:r>
        </a:p>
      </dsp:txBody>
      <dsp:txXfrm>
        <a:off x="7160284" y="0"/>
        <a:ext cx="1521750" cy="237246"/>
      </dsp:txXfrm>
    </dsp:sp>
    <dsp:sp modelId="{0116E7F4-F10C-4A6D-A83C-A0747C4128E4}">
      <dsp:nvSpPr>
        <dsp:cNvPr id="0" name=""/>
        <dsp:cNvSpPr/>
      </dsp:nvSpPr>
      <dsp:spPr>
        <a:xfrm>
          <a:off x="8448858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34286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Financials</a:t>
          </a:r>
        </a:p>
      </dsp:txBody>
      <dsp:txXfrm>
        <a:off x="8567481" y="0"/>
        <a:ext cx="1521750" cy="237246"/>
      </dsp:txXfrm>
    </dsp:sp>
    <dsp:sp modelId="{4109E786-07E0-4C8D-88A0-15EAC9F813E3}">
      <dsp:nvSpPr>
        <dsp:cNvPr id="0" name=""/>
        <dsp:cNvSpPr/>
      </dsp:nvSpPr>
      <dsp:spPr>
        <a:xfrm>
          <a:off x="985605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sz="1200" kern="1200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 sz="1200" kern="1200">
            <a:solidFill>
              <a:schemeClr val="accent5">
                <a:lumMod val="75000"/>
              </a:schemeClr>
            </a:solidFill>
          </a:endParaRPr>
        </a:p>
      </dsp:txBody>
      <dsp:txXfrm>
        <a:off x="9974679" y="0"/>
        <a:ext cx="1521750" cy="23724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B61470-A8BE-45AF-B568-030F78BD9C71}">
      <dsp:nvSpPr>
        <dsp:cNvPr id="0" name=""/>
        <dsp:cNvSpPr/>
      </dsp:nvSpPr>
      <dsp:spPr>
        <a:xfrm>
          <a:off x="4179" y="0"/>
          <a:ext cx="1758996" cy="237246"/>
        </a:xfrm>
        <a:prstGeom prst="homePlat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 kern="1200">
              <a:solidFill>
                <a:schemeClr val="accent5">
                  <a:lumMod val="75000"/>
                </a:schemeClr>
              </a:solidFill>
            </a:rPr>
            <a:t> </a:t>
          </a:r>
        </a:p>
      </dsp:txBody>
      <dsp:txXfrm>
        <a:off x="4179" y="0"/>
        <a:ext cx="1699685" cy="237246"/>
      </dsp:txXfrm>
    </dsp:sp>
    <dsp:sp modelId="{87AFEA20-F8EC-44D9-AFC9-9CEEB1C8F633}">
      <dsp:nvSpPr>
        <dsp:cNvPr id="0" name=""/>
        <dsp:cNvSpPr/>
      </dsp:nvSpPr>
      <dsp:spPr>
        <a:xfrm>
          <a:off x="141287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5714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NE</a:t>
          </a:r>
        </a:p>
      </dsp:txBody>
      <dsp:txXfrm>
        <a:off x="1531494" y="0"/>
        <a:ext cx="1521750" cy="237246"/>
      </dsp:txXfrm>
    </dsp:sp>
    <dsp:sp modelId="{FEDD17B4-F6C8-4605-BC6B-8DAB5C1B20C6}">
      <dsp:nvSpPr>
        <dsp:cNvPr id="0" name=""/>
        <dsp:cNvSpPr/>
      </dsp:nvSpPr>
      <dsp:spPr>
        <a:xfrm>
          <a:off x="2820069" y="0"/>
          <a:ext cx="1758996" cy="237246"/>
        </a:xfrm>
        <a:prstGeom prst="chevron">
          <a:avLst/>
        </a:prstGeom>
        <a:solidFill>
          <a:schemeClr val="tx1">
            <a:alpha val="78571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>
              <a:solidFill>
                <a:schemeClr val="bg1"/>
              </a:solidFill>
            </a:rPr>
            <a:t>    Our consumers</a:t>
          </a:r>
        </a:p>
      </dsp:txBody>
      <dsp:txXfrm>
        <a:off x="2938692" y="0"/>
        <a:ext cx="1521750" cy="237246"/>
      </dsp:txXfrm>
    </dsp:sp>
    <dsp:sp modelId="{269FDA00-C630-4A00-98B1-AD0A61EE7CEA}">
      <dsp:nvSpPr>
        <dsp:cNvPr id="0" name=""/>
        <dsp:cNvSpPr/>
      </dsp:nvSpPr>
      <dsp:spPr>
        <a:xfrm>
          <a:off x="422726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714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sp:txBody>
      <dsp:txXfrm>
        <a:off x="4345889" y="0"/>
        <a:ext cx="1521750" cy="237246"/>
      </dsp:txXfrm>
    </dsp:sp>
    <dsp:sp modelId="{9E204D48-F193-46A4-9491-0A9034F5A787}">
      <dsp:nvSpPr>
        <dsp:cNvPr id="0" name=""/>
        <dsp:cNvSpPr/>
      </dsp:nvSpPr>
      <dsp:spPr>
        <a:xfrm>
          <a:off x="5634463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285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ESG analysis</a:t>
          </a:r>
        </a:p>
      </dsp:txBody>
      <dsp:txXfrm>
        <a:off x="5753086" y="0"/>
        <a:ext cx="1521750" cy="237246"/>
      </dsp:txXfrm>
    </dsp:sp>
    <dsp:sp modelId="{8716042C-279E-445F-9D73-431CE59149B3}">
      <dsp:nvSpPr>
        <dsp:cNvPr id="0" name=""/>
        <dsp:cNvSpPr/>
      </dsp:nvSpPr>
      <dsp:spPr>
        <a:xfrm>
          <a:off x="704166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8571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ere we play?</a:t>
          </a:r>
        </a:p>
      </dsp:txBody>
      <dsp:txXfrm>
        <a:off x="7160284" y="0"/>
        <a:ext cx="1521750" cy="237246"/>
      </dsp:txXfrm>
    </dsp:sp>
    <dsp:sp modelId="{0116E7F4-F10C-4A6D-A83C-A0747C4128E4}">
      <dsp:nvSpPr>
        <dsp:cNvPr id="0" name=""/>
        <dsp:cNvSpPr/>
      </dsp:nvSpPr>
      <dsp:spPr>
        <a:xfrm>
          <a:off x="8448858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34286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Financials</a:t>
          </a:r>
        </a:p>
      </dsp:txBody>
      <dsp:txXfrm>
        <a:off x="8567481" y="0"/>
        <a:ext cx="1521750" cy="237246"/>
      </dsp:txXfrm>
    </dsp:sp>
    <dsp:sp modelId="{4109E786-07E0-4C8D-88A0-15EAC9F813E3}">
      <dsp:nvSpPr>
        <dsp:cNvPr id="0" name=""/>
        <dsp:cNvSpPr/>
      </dsp:nvSpPr>
      <dsp:spPr>
        <a:xfrm>
          <a:off x="985605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sz="1200" kern="1200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 sz="1200" kern="1200">
            <a:solidFill>
              <a:schemeClr val="accent5">
                <a:lumMod val="75000"/>
              </a:schemeClr>
            </a:solidFill>
          </a:endParaRPr>
        </a:p>
      </dsp:txBody>
      <dsp:txXfrm>
        <a:off x="9974679" y="0"/>
        <a:ext cx="1521750" cy="23724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B61470-A8BE-45AF-B568-030F78BD9C71}">
      <dsp:nvSpPr>
        <dsp:cNvPr id="0" name=""/>
        <dsp:cNvSpPr/>
      </dsp:nvSpPr>
      <dsp:spPr>
        <a:xfrm>
          <a:off x="4179" y="0"/>
          <a:ext cx="1758996" cy="237246"/>
        </a:xfrm>
        <a:prstGeom prst="homePlat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 kern="1200">
              <a:solidFill>
                <a:schemeClr val="accent5">
                  <a:lumMod val="75000"/>
                </a:schemeClr>
              </a:solidFill>
            </a:rPr>
            <a:t> </a:t>
          </a:r>
        </a:p>
      </dsp:txBody>
      <dsp:txXfrm>
        <a:off x="4179" y="0"/>
        <a:ext cx="1699685" cy="237246"/>
      </dsp:txXfrm>
    </dsp:sp>
    <dsp:sp modelId="{87AFEA20-F8EC-44D9-AFC9-9CEEB1C8F633}">
      <dsp:nvSpPr>
        <dsp:cNvPr id="0" name=""/>
        <dsp:cNvSpPr/>
      </dsp:nvSpPr>
      <dsp:spPr>
        <a:xfrm>
          <a:off x="141287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5714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NE</a:t>
          </a:r>
        </a:p>
      </dsp:txBody>
      <dsp:txXfrm>
        <a:off x="1531494" y="0"/>
        <a:ext cx="1521750" cy="237246"/>
      </dsp:txXfrm>
    </dsp:sp>
    <dsp:sp modelId="{FEDD17B4-F6C8-4605-BC6B-8DAB5C1B20C6}">
      <dsp:nvSpPr>
        <dsp:cNvPr id="0" name=""/>
        <dsp:cNvSpPr/>
      </dsp:nvSpPr>
      <dsp:spPr>
        <a:xfrm>
          <a:off x="2820069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1429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sp:txBody>
      <dsp:txXfrm>
        <a:off x="2938692" y="0"/>
        <a:ext cx="1521750" cy="237246"/>
      </dsp:txXfrm>
    </dsp:sp>
    <dsp:sp modelId="{269FDA00-C630-4A00-98B1-AD0A61EE7CEA}">
      <dsp:nvSpPr>
        <dsp:cNvPr id="0" name=""/>
        <dsp:cNvSpPr/>
      </dsp:nvSpPr>
      <dsp:spPr>
        <a:xfrm>
          <a:off x="4227266" y="0"/>
          <a:ext cx="1758996" cy="237246"/>
        </a:xfrm>
        <a:prstGeom prst="chevron">
          <a:avLst/>
        </a:prstGeom>
        <a:solidFill>
          <a:schemeClr val="tx1">
            <a:alpha val="7285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b="1" kern="1200">
              <a:solidFill>
                <a:schemeClr val="bg1"/>
              </a:solidFill>
            </a:rPr>
            <a:t>Presenting MODIVA</a:t>
          </a:r>
        </a:p>
      </dsp:txBody>
      <dsp:txXfrm>
        <a:off x="4345889" y="0"/>
        <a:ext cx="1521750" cy="237246"/>
      </dsp:txXfrm>
    </dsp:sp>
    <dsp:sp modelId="{9E204D48-F193-46A4-9491-0A9034F5A787}">
      <dsp:nvSpPr>
        <dsp:cNvPr id="0" name=""/>
        <dsp:cNvSpPr/>
      </dsp:nvSpPr>
      <dsp:spPr>
        <a:xfrm>
          <a:off x="5634463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285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ESG analysis</a:t>
          </a:r>
        </a:p>
      </dsp:txBody>
      <dsp:txXfrm>
        <a:off x="5753086" y="0"/>
        <a:ext cx="1521750" cy="237246"/>
      </dsp:txXfrm>
    </dsp:sp>
    <dsp:sp modelId="{8716042C-279E-445F-9D73-431CE59149B3}">
      <dsp:nvSpPr>
        <dsp:cNvPr id="0" name=""/>
        <dsp:cNvSpPr/>
      </dsp:nvSpPr>
      <dsp:spPr>
        <a:xfrm>
          <a:off x="704166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8571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ere we play?</a:t>
          </a:r>
        </a:p>
      </dsp:txBody>
      <dsp:txXfrm>
        <a:off x="7160284" y="0"/>
        <a:ext cx="1521750" cy="237246"/>
      </dsp:txXfrm>
    </dsp:sp>
    <dsp:sp modelId="{0116E7F4-F10C-4A6D-A83C-A0747C4128E4}">
      <dsp:nvSpPr>
        <dsp:cNvPr id="0" name=""/>
        <dsp:cNvSpPr/>
      </dsp:nvSpPr>
      <dsp:spPr>
        <a:xfrm>
          <a:off x="8448858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34286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Financials</a:t>
          </a:r>
        </a:p>
      </dsp:txBody>
      <dsp:txXfrm>
        <a:off x="8567481" y="0"/>
        <a:ext cx="1521750" cy="237246"/>
      </dsp:txXfrm>
    </dsp:sp>
    <dsp:sp modelId="{4109E786-07E0-4C8D-88A0-15EAC9F813E3}">
      <dsp:nvSpPr>
        <dsp:cNvPr id="0" name=""/>
        <dsp:cNvSpPr/>
      </dsp:nvSpPr>
      <dsp:spPr>
        <a:xfrm>
          <a:off x="985605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sz="1200" kern="1200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 sz="1200" kern="1200">
            <a:solidFill>
              <a:schemeClr val="accent5">
                <a:lumMod val="75000"/>
              </a:schemeClr>
            </a:solidFill>
          </a:endParaRPr>
        </a:p>
      </dsp:txBody>
      <dsp:txXfrm>
        <a:off x="9974679" y="0"/>
        <a:ext cx="1521750" cy="23724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B61470-A8BE-45AF-B568-030F78BD9C71}">
      <dsp:nvSpPr>
        <dsp:cNvPr id="0" name=""/>
        <dsp:cNvSpPr/>
      </dsp:nvSpPr>
      <dsp:spPr>
        <a:xfrm>
          <a:off x="4179" y="0"/>
          <a:ext cx="1758996" cy="237246"/>
        </a:xfrm>
        <a:prstGeom prst="homePlat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 kern="1200">
              <a:solidFill>
                <a:schemeClr val="accent5">
                  <a:lumMod val="75000"/>
                </a:schemeClr>
              </a:solidFill>
            </a:rPr>
            <a:t> </a:t>
          </a:r>
        </a:p>
      </dsp:txBody>
      <dsp:txXfrm>
        <a:off x="4179" y="0"/>
        <a:ext cx="1699685" cy="237246"/>
      </dsp:txXfrm>
    </dsp:sp>
    <dsp:sp modelId="{87AFEA20-F8EC-44D9-AFC9-9CEEB1C8F633}">
      <dsp:nvSpPr>
        <dsp:cNvPr id="0" name=""/>
        <dsp:cNvSpPr/>
      </dsp:nvSpPr>
      <dsp:spPr>
        <a:xfrm>
          <a:off x="141287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5714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NE</a:t>
          </a:r>
        </a:p>
      </dsp:txBody>
      <dsp:txXfrm>
        <a:off x="1531494" y="0"/>
        <a:ext cx="1521750" cy="237246"/>
      </dsp:txXfrm>
    </dsp:sp>
    <dsp:sp modelId="{FEDD17B4-F6C8-4605-BC6B-8DAB5C1B20C6}">
      <dsp:nvSpPr>
        <dsp:cNvPr id="0" name=""/>
        <dsp:cNvSpPr/>
      </dsp:nvSpPr>
      <dsp:spPr>
        <a:xfrm>
          <a:off x="2820069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1429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sp:txBody>
      <dsp:txXfrm>
        <a:off x="2938692" y="0"/>
        <a:ext cx="1521750" cy="237246"/>
      </dsp:txXfrm>
    </dsp:sp>
    <dsp:sp modelId="{269FDA00-C630-4A00-98B1-AD0A61EE7CEA}">
      <dsp:nvSpPr>
        <dsp:cNvPr id="0" name=""/>
        <dsp:cNvSpPr/>
      </dsp:nvSpPr>
      <dsp:spPr>
        <a:xfrm>
          <a:off x="422726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714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sp:txBody>
      <dsp:txXfrm>
        <a:off x="4345889" y="0"/>
        <a:ext cx="1521750" cy="237246"/>
      </dsp:txXfrm>
    </dsp:sp>
    <dsp:sp modelId="{9E204D48-F193-46A4-9491-0A9034F5A787}">
      <dsp:nvSpPr>
        <dsp:cNvPr id="0" name=""/>
        <dsp:cNvSpPr/>
      </dsp:nvSpPr>
      <dsp:spPr>
        <a:xfrm>
          <a:off x="5634463" y="0"/>
          <a:ext cx="1758996" cy="237246"/>
        </a:xfrm>
        <a:prstGeom prst="chevron">
          <a:avLst/>
        </a:prstGeom>
        <a:solidFill>
          <a:schemeClr val="tx1">
            <a:alpha val="6714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>
              <a:solidFill>
                <a:schemeClr val="bg1"/>
              </a:solidFill>
            </a:rPr>
            <a:t>ESG analysis</a:t>
          </a:r>
        </a:p>
      </dsp:txBody>
      <dsp:txXfrm>
        <a:off x="5753086" y="0"/>
        <a:ext cx="1521750" cy="237246"/>
      </dsp:txXfrm>
    </dsp:sp>
    <dsp:sp modelId="{8716042C-279E-445F-9D73-431CE59149B3}">
      <dsp:nvSpPr>
        <dsp:cNvPr id="0" name=""/>
        <dsp:cNvSpPr/>
      </dsp:nvSpPr>
      <dsp:spPr>
        <a:xfrm>
          <a:off x="704166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8571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ere we play?</a:t>
          </a:r>
        </a:p>
      </dsp:txBody>
      <dsp:txXfrm>
        <a:off x="7160284" y="0"/>
        <a:ext cx="1521750" cy="237246"/>
      </dsp:txXfrm>
    </dsp:sp>
    <dsp:sp modelId="{0116E7F4-F10C-4A6D-A83C-A0747C4128E4}">
      <dsp:nvSpPr>
        <dsp:cNvPr id="0" name=""/>
        <dsp:cNvSpPr/>
      </dsp:nvSpPr>
      <dsp:spPr>
        <a:xfrm>
          <a:off x="8448858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34286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Financials</a:t>
          </a:r>
        </a:p>
      </dsp:txBody>
      <dsp:txXfrm>
        <a:off x="8567481" y="0"/>
        <a:ext cx="1521750" cy="237246"/>
      </dsp:txXfrm>
    </dsp:sp>
    <dsp:sp modelId="{4109E786-07E0-4C8D-88A0-15EAC9F813E3}">
      <dsp:nvSpPr>
        <dsp:cNvPr id="0" name=""/>
        <dsp:cNvSpPr/>
      </dsp:nvSpPr>
      <dsp:spPr>
        <a:xfrm>
          <a:off x="985605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sz="1200" kern="1200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 sz="1200" kern="1200">
            <a:solidFill>
              <a:schemeClr val="accent5">
                <a:lumMod val="75000"/>
              </a:schemeClr>
            </a:solidFill>
          </a:endParaRPr>
        </a:p>
      </dsp:txBody>
      <dsp:txXfrm>
        <a:off x="9974679" y="0"/>
        <a:ext cx="1521750" cy="23724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B61470-A8BE-45AF-B568-030F78BD9C71}">
      <dsp:nvSpPr>
        <dsp:cNvPr id="0" name=""/>
        <dsp:cNvSpPr/>
      </dsp:nvSpPr>
      <dsp:spPr>
        <a:xfrm>
          <a:off x="4179" y="0"/>
          <a:ext cx="1758996" cy="237246"/>
        </a:xfrm>
        <a:prstGeom prst="homePlat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 kern="1200">
              <a:solidFill>
                <a:schemeClr val="accent5">
                  <a:lumMod val="75000"/>
                </a:schemeClr>
              </a:solidFill>
            </a:rPr>
            <a:t> </a:t>
          </a:r>
        </a:p>
      </dsp:txBody>
      <dsp:txXfrm>
        <a:off x="4179" y="0"/>
        <a:ext cx="1699685" cy="237246"/>
      </dsp:txXfrm>
    </dsp:sp>
    <dsp:sp modelId="{87AFEA20-F8EC-44D9-AFC9-9CEEB1C8F633}">
      <dsp:nvSpPr>
        <dsp:cNvPr id="0" name=""/>
        <dsp:cNvSpPr/>
      </dsp:nvSpPr>
      <dsp:spPr>
        <a:xfrm>
          <a:off x="141287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5714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NE</a:t>
          </a:r>
        </a:p>
      </dsp:txBody>
      <dsp:txXfrm>
        <a:off x="1531494" y="0"/>
        <a:ext cx="1521750" cy="237246"/>
      </dsp:txXfrm>
    </dsp:sp>
    <dsp:sp modelId="{FEDD17B4-F6C8-4605-BC6B-8DAB5C1B20C6}">
      <dsp:nvSpPr>
        <dsp:cNvPr id="0" name=""/>
        <dsp:cNvSpPr/>
      </dsp:nvSpPr>
      <dsp:spPr>
        <a:xfrm>
          <a:off x="2820069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1429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sp:txBody>
      <dsp:txXfrm>
        <a:off x="2938692" y="0"/>
        <a:ext cx="1521750" cy="237246"/>
      </dsp:txXfrm>
    </dsp:sp>
    <dsp:sp modelId="{269FDA00-C630-4A00-98B1-AD0A61EE7CEA}">
      <dsp:nvSpPr>
        <dsp:cNvPr id="0" name=""/>
        <dsp:cNvSpPr/>
      </dsp:nvSpPr>
      <dsp:spPr>
        <a:xfrm>
          <a:off x="422726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714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sp:txBody>
      <dsp:txXfrm>
        <a:off x="4345889" y="0"/>
        <a:ext cx="1521750" cy="237246"/>
      </dsp:txXfrm>
    </dsp:sp>
    <dsp:sp modelId="{9E204D48-F193-46A4-9491-0A9034F5A787}">
      <dsp:nvSpPr>
        <dsp:cNvPr id="0" name=""/>
        <dsp:cNvSpPr/>
      </dsp:nvSpPr>
      <dsp:spPr>
        <a:xfrm>
          <a:off x="5634463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285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ESG analysis</a:t>
          </a:r>
        </a:p>
      </dsp:txBody>
      <dsp:txXfrm>
        <a:off x="5753086" y="0"/>
        <a:ext cx="1521750" cy="237246"/>
      </dsp:txXfrm>
    </dsp:sp>
    <dsp:sp modelId="{8716042C-279E-445F-9D73-431CE59149B3}">
      <dsp:nvSpPr>
        <dsp:cNvPr id="0" name=""/>
        <dsp:cNvSpPr/>
      </dsp:nvSpPr>
      <dsp:spPr>
        <a:xfrm>
          <a:off x="7041661" y="0"/>
          <a:ext cx="1758996" cy="237246"/>
        </a:xfrm>
        <a:prstGeom prst="chevron">
          <a:avLst/>
        </a:prstGeom>
        <a:solidFill>
          <a:schemeClr val="tx1">
            <a:alpha val="61429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>
              <a:solidFill>
                <a:schemeClr val="bg1"/>
              </a:solidFill>
            </a:rPr>
            <a:t>Where we play?</a:t>
          </a:r>
        </a:p>
      </dsp:txBody>
      <dsp:txXfrm>
        <a:off x="7160284" y="0"/>
        <a:ext cx="1521750" cy="237246"/>
      </dsp:txXfrm>
    </dsp:sp>
    <dsp:sp modelId="{0116E7F4-F10C-4A6D-A83C-A0747C4128E4}">
      <dsp:nvSpPr>
        <dsp:cNvPr id="0" name=""/>
        <dsp:cNvSpPr/>
      </dsp:nvSpPr>
      <dsp:spPr>
        <a:xfrm>
          <a:off x="8448858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34286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Financials</a:t>
          </a:r>
        </a:p>
      </dsp:txBody>
      <dsp:txXfrm>
        <a:off x="8567481" y="0"/>
        <a:ext cx="1521750" cy="237246"/>
      </dsp:txXfrm>
    </dsp:sp>
    <dsp:sp modelId="{4109E786-07E0-4C8D-88A0-15EAC9F813E3}">
      <dsp:nvSpPr>
        <dsp:cNvPr id="0" name=""/>
        <dsp:cNvSpPr/>
      </dsp:nvSpPr>
      <dsp:spPr>
        <a:xfrm>
          <a:off x="985605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sz="1200" kern="1200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 sz="1200" kern="1200">
            <a:solidFill>
              <a:schemeClr val="accent5">
                <a:lumMod val="75000"/>
              </a:schemeClr>
            </a:solidFill>
          </a:endParaRPr>
        </a:p>
      </dsp:txBody>
      <dsp:txXfrm>
        <a:off x="9974679" y="0"/>
        <a:ext cx="1521750" cy="23724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B61470-A8BE-45AF-B568-030F78BD9C71}">
      <dsp:nvSpPr>
        <dsp:cNvPr id="0" name=""/>
        <dsp:cNvSpPr/>
      </dsp:nvSpPr>
      <dsp:spPr>
        <a:xfrm>
          <a:off x="4179" y="0"/>
          <a:ext cx="1758996" cy="237246"/>
        </a:xfrm>
        <a:prstGeom prst="homePlat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 kern="1200">
              <a:solidFill>
                <a:schemeClr val="accent5">
                  <a:lumMod val="75000"/>
                </a:schemeClr>
              </a:solidFill>
            </a:rPr>
            <a:t> </a:t>
          </a:r>
        </a:p>
      </dsp:txBody>
      <dsp:txXfrm>
        <a:off x="4179" y="0"/>
        <a:ext cx="1699685" cy="237246"/>
      </dsp:txXfrm>
    </dsp:sp>
    <dsp:sp modelId="{87AFEA20-F8EC-44D9-AFC9-9CEEB1C8F633}">
      <dsp:nvSpPr>
        <dsp:cNvPr id="0" name=""/>
        <dsp:cNvSpPr/>
      </dsp:nvSpPr>
      <dsp:spPr>
        <a:xfrm>
          <a:off x="141287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5714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NE</a:t>
          </a:r>
        </a:p>
      </dsp:txBody>
      <dsp:txXfrm>
        <a:off x="1531494" y="0"/>
        <a:ext cx="1521750" cy="237246"/>
      </dsp:txXfrm>
    </dsp:sp>
    <dsp:sp modelId="{FEDD17B4-F6C8-4605-BC6B-8DAB5C1B20C6}">
      <dsp:nvSpPr>
        <dsp:cNvPr id="0" name=""/>
        <dsp:cNvSpPr/>
      </dsp:nvSpPr>
      <dsp:spPr>
        <a:xfrm>
          <a:off x="2820069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1429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sp:txBody>
      <dsp:txXfrm>
        <a:off x="2938692" y="0"/>
        <a:ext cx="1521750" cy="237246"/>
      </dsp:txXfrm>
    </dsp:sp>
    <dsp:sp modelId="{269FDA00-C630-4A00-98B1-AD0A61EE7CEA}">
      <dsp:nvSpPr>
        <dsp:cNvPr id="0" name=""/>
        <dsp:cNvSpPr/>
      </dsp:nvSpPr>
      <dsp:spPr>
        <a:xfrm>
          <a:off x="422726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714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sp:txBody>
      <dsp:txXfrm>
        <a:off x="4345889" y="0"/>
        <a:ext cx="1521750" cy="237246"/>
      </dsp:txXfrm>
    </dsp:sp>
    <dsp:sp modelId="{9E204D48-F193-46A4-9491-0A9034F5A787}">
      <dsp:nvSpPr>
        <dsp:cNvPr id="0" name=""/>
        <dsp:cNvSpPr/>
      </dsp:nvSpPr>
      <dsp:spPr>
        <a:xfrm>
          <a:off x="5634463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285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ESG analysis</a:t>
          </a:r>
        </a:p>
      </dsp:txBody>
      <dsp:txXfrm>
        <a:off x="5753086" y="0"/>
        <a:ext cx="1521750" cy="237246"/>
      </dsp:txXfrm>
    </dsp:sp>
    <dsp:sp modelId="{8716042C-279E-445F-9D73-431CE59149B3}">
      <dsp:nvSpPr>
        <dsp:cNvPr id="0" name=""/>
        <dsp:cNvSpPr/>
      </dsp:nvSpPr>
      <dsp:spPr>
        <a:xfrm>
          <a:off x="704166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8571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ere we play?</a:t>
          </a:r>
        </a:p>
      </dsp:txBody>
      <dsp:txXfrm>
        <a:off x="7160284" y="0"/>
        <a:ext cx="1521750" cy="237246"/>
      </dsp:txXfrm>
    </dsp:sp>
    <dsp:sp modelId="{0116E7F4-F10C-4A6D-A83C-A0747C4128E4}">
      <dsp:nvSpPr>
        <dsp:cNvPr id="0" name=""/>
        <dsp:cNvSpPr/>
      </dsp:nvSpPr>
      <dsp:spPr>
        <a:xfrm>
          <a:off x="8448858" y="0"/>
          <a:ext cx="1758996" cy="237246"/>
        </a:xfrm>
        <a:prstGeom prst="chevron">
          <a:avLst/>
        </a:prstGeom>
        <a:solidFill>
          <a:schemeClr val="tx1">
            <a:alpha val="55714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>
              <a:solidFill>
                <a:schemeClr val="bg1"/>
              </a:solidFill>
            </a:rPr>
            <a:t>Financials</a:t>
          </a:r>
        </a:p>
      </dsp:txBody>
      <dsp:txXfrm>
        <a:off x="8567481" y="0"/>
        <a:ext cx="1521750" cy="237246"/>
      </dsp:txXfrm>
    </dsp:sp>
    <dsp:sp modelId="{4109E786-07E0-4C8D-88A0-15EAC9F813E3}">
      <dsp:nvSpPr>
        <dsp:cNvPr id="0" name=""/>
        <dsp:cNvSpPr/>
      </dsp:nvSpPr>
      <dsp:spPr>
        <a:xfrm>
          <a:off x="985605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at</a:t>
          </a:r>
          <a:r>
            <a:rPr lang="en-IN" sz="1200" kern="1200" baseline="0">
              <a:solidFill>
                <a:schemeClr val="accent5">
                  <a:lumMod val="75000"/>
                </a:schemeClr>
              </a:solidFill>
            </a:rPr>
            <a:t> next?</a:t>
          </a:r>
          <a:endParaRPr lang="en-IN" sz="1200" kern="1200">
            <a:solidFill>
              <a:schemeClr val="accent5">
                <a:lumMod val="75000"/>
              </a:schemeClr>
            </a:solidFill>
          </a:endParaRPr>
        </a:p>
      </dsp:txBody>
      <dsp:txXfrm>
        <a:off x="9974679" y="0"/>
        <a:ext cx="1521750" cy="23724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B61470-A8BE-45AF-B568-030F78BD9C71}">
      <dsp:nvSpPr>
        <dsp:cNvPr id="0" name=""/>
        <dsp:cNvSpPr/>
      </dsp:nvSpPr>
      <dsp:spPr>
        <a:xfrm>
          <a:off x="4179" y="0"/>
          <a:ext cx="1758996" cy="237246"/>
        </a:xfrm>
        <a:prstGeom prst="homePlat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dustry</a:t>
          </a:r>
          <a:r>
            <a:rPr lang="en-IN" sz="1100" b="1" kern="1200">
              <a:solidFill>
                <a:schemeClr val="accent5">
                  <a:lumMod val="75000"/>
                </a:schemeClr>
              </a:solidFill>
            </a:rPr>
            <a:t> </a:t>
          </a:r>
        </a:p>
      </dsp:txBody>
      <dsp:txXfrm>
        <a:off x="4179" y="0"/>
        <a:ext cx="1699685" cy="237246"/>
      </dsp:txXfrm>
    </dsp:sp>
    <dsp:sp modelId="{87AFEA20-F8EC-44D9-AFC9-9CEEB1C8F633}">
      <dsp:nvSpPr>
        <dsp:cNvPr id="0" name=""/>
        <dsp:cNvSpPr/>
      </dsp:nvSpPr>
      <dsp:spPr>
        <a:xfrm>
          <a:off x="141287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5714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ABI </a:t>
          </a:r>
          <a:r>
            <a:rPr lang="en-IN" sz="1100" b="0" kern="1200">
              <a:solidFill>
                <a:schemeClr val="accent5">
                  <a:lumMod val="75000"/>
                </a:schemeClr>
              </a:solidFill>
            </a:rPr>
            <a:t>In </a:t>
          </a: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NE</a:t>
          </a:r>
        </a:p>
      </dsp:txBody>
      <dsp:txXfrm>
        <a:off x="1531494" y="0"/>
        <a:ext cx="1521750" cy="237246"/>
      </dsp:txXfrm>
    </dsp:sp>
    <dsp:sp modelId="{FEDD17B4-F6C8-4605-BC6B-8DAB5C1B20C6}">
      <dsp:nvSpPr>
        <dsp:cNvPr id="0" name=""/>
        <dsp:cNvSpPr/>
      </dsp:nvSpPr>
      <dsp:spPr>
        <a:xfrm>
          <a:off x="2820069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1429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    Our consumers</a:t>
          </a:r>
        </a:p>
      </dsp:txBody>
      <dsp:txXfrm>
        <a:off x="2938692" y="0"/>
        <a:ext cx="1521750" cy="237246"/>
      </dsp:txXfrm>
    </dsp:sp>
    <dsp:sp modelId="{269FDA00-C630-4A00-98B1-AD0A61EE7CEA}">
      <dsp:nvSpPr>
        <dsp:cNvPr id="0" name=""/>
        <dsp:cNvSpPr/>
      </dsp:nvSpPr>
      <dsp:spPr>
        <a:xfrm>
          <a:off x="4227266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1714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50" kern="1200">
              <a:solidFill>
                <a:schemeClr val="accent5">
                  <a:lumMod val="75000"/>
                </a:schemeClr>
              </a:solidFill>
            </a:rPr>
            <a:t>Presenting MODIVA</a:t>
          </a:r>
        </a:p>
      </dsp:txBody>
      <dsp:txXfrm>
        <a:off x="4345889" y="0"/>
        <a:ext cx="1521750" cy="237246"/>
      </dsp:txXfrm>
    </dsp:sp>
    <dsp:sp modelId="{9E204D48-F193-46A4-9491-0A9034F5A787}">
      <dsp:nvSpPr>
        <dsp:cNvPr id="0" name=""/>
        <dsp:cNvSpPr/>
      </dsp:nvSpPr>
      <dsp:spPr>
        <a:xfrm>
          <a:off x="5634463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285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>
              <a:solidFill>
                <a:schemeClr val="accent5">
                  <a:lumMod val="75000"/>
                </a:schemeClr>
              </a:solidFill>
            </a:rPr>
            <a:t>ESG analysis</a:t>
          </a:r>
        </a:p>
      </dsp:txBody>
      <dsp:txXfrm>
        <a:off x="5753086" y="0"/>
        <a:ext cx="1521750" cy="237246"/>
      </dsp:txXfrm>
    </dsp:sp>
    <dsp:sp modelId="{8716042C-279E-445F-9D73-431CE59149B3}">
      <dsp:nvSpPr>
        <dsp:cNvPr id="0" name=""/>
        <dsp:cNvSpPr/>
      </dsp:nvSpPr>
      <dsp:spPr>
        <a:xfrm>
          <a:off x="7041661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28571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Where we play?</a:t>
          </a:r>
        </a:p>
      </dsp:txBody>
      <dsp:txXfrm>
        <a:off x="7160284" y="0"/>
        <a:ext cx="1521750" cy="237246"/>
      </dsp:txXfrm>
    </dsp:sp>
    <dsp:sp modelId="{0116E7F4-F10C-4A6D-A83C-A0747C4128E4}">
      <dsp:nvSpPr>
        <dsp:cNvPr id="0" name=""/>
        <dsp:cNvSpPr/>
      </dsp:nvSpPr>
      <dsp:spPr>
        <a:xfrm>
          <a:off x="8448858" y="0"/>
          <a:ext cx="1758996" cy="237246"/>
        </a:xfrm>
        <a:prstGeom prst="chevron">
          <a:avLst/>
        </a:prstGeom>
        <a:solidFill>
          <a:schemeClr val="accent1">
            <a:alpha val="90000"/>
            <a:hueOff val="0"/>
            <a:satOff val="0"/>
            <a:lumOff val="0"/>
            <a:alphaOff val="-34286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>
              <a:solidFill>
                <a:schemeClr val="accent5">
                  <a:lumMod val="75000"/>
                </a:schemeClr>
              </a:solidFill>
            </a:rPr>
            <a:t>Financials</a:t>
          </a:r>
        </a:p>
      </dsp:txBody>
      <dsp:txXfrm>
        <a:off x="8567481" y="0"/>
        <a:ext cx="1521750" cy="237246"/>
      </dsp:txXfrm>
    </dsp:sp>
    <dsp:sp modelId="{4109E786-07E0-4C8D-88A0-15EAC9F813E3}">
      <dsp:nvSpPr>
        <dsp:cNvPr id="0" name=""/>
        <dsp:cNvSpPr/>
      </dsp:nvSpPr>
      <dsp:spPr>
        <a:xfrm>
          <a:off x="9856056" y="0"/>
          <a:ext cx="1758996" cy="237246"/>
        </a:xfrm>
        <a:prstGeom prst="chevron">
          <a:avLst/>
        </a:prstGeom>
        <a:solidFill>
          <a:schemeClr val="tx1">
            <a:alpha val="5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>
              <a:solidFill>
                <a:schemeClr val="bg1"/>
              </a:solidFill>
            </a:rPr>
            <a:t>What</a:t>
          </a:r>
          <a:r>
            <a:rPr lang="en-IN" sz="1200" b="1" kern="1200" baseline="0">
              <a:solidFill>
                <a:schemeClr val="bg1"/>
              </a:solidFill>
            </a:rPr>
            <a:t> next?</a:t>
          </a:r>
          <a:endParaRPr lang="en-IN" sz="1200" b="1" kern="1200">
            <a:solidFill>
              <a:schemeClr val="bg1"/>
            </a:solidFill>
          </a:endParaRPr>
        </a:p>
      </dsp:txBody>
      <dsp:txXfrm>
        <a:off x="9974679" y="0"/>
        <a:ext cx="1521750" cy="2372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BE5FA5-48FD-0F42-955A-FE7376EA5C25}" type="datetimeFigureOut">
              <a:rPr lang="en-US" smtClean="0"/>
              <a:t>8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98975A-C83C-4B4B-A264-2AFD70F782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696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7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6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14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92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70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9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28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98975A-C83C-4B4B-A264-2AFD70F782E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650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98975A-C83C-4B4B-A264-2AFD70F782E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63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98975A-C83C-4B4B-A264-2AFD70F782E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1325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98975A-C83C-4B4B-A264-2AFD70F782E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9798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98975A-C83C-4B4B-A264-2AFD70F782E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416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98975A-C83C-4B4B-A264-2AFD70F782E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9208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98975A-C83C-4B4B-A264-2AFD70F782E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436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98975A-C83C-4B4B-A264-2AFD70F782E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99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353236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668367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2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2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79ED27-A5B5-F647-AA74-CF4D4F902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2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080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2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F8D6E0E-53DB-6647-981D-D05C8439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042625"/>
            <a:ext cx="1639229" cy="302169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2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2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</p:spTree>
    <p:extLst>
      <p:ext uri="{BB962C8B-B14F-4D97-AF65-F5344CB8AC3E}">
        <p14:creationId xmlns:p14="http://schemas.microsoft.com/office/powerpoint/2010/main" val="19657614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2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7FF1D16-8B15-A343-A1B3-5F96861FD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2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98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2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4" y="681040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4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4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0016ECA-0AC7-40C0-B6F3-73C9228CC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1642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2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40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4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C54D5E4-4413-459A-9003-4704F0A7C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73" y="6254845"/>
            <a:ext cx="1342074" cy="24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81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2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4" y="697002"/>
            <a:ext cx="1003578" cy="1005269"/>
          </a:xfrm>
        </p:spPr>
        <p:txBody>
          <a:bodyPr rIns="0" anchor="ctr"/>
          <a:lstStyle>
            <a:lvl1pPr marL="0" indent="0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6350104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2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4" y="697002"/>
            <a:ext cx="1003578" cy="1005269"/>
          </a:xfrm>
        </p:spPr>
        <p:txBody>
          <a:bodyPr rIns="0" anchor="ctr"/>
          <a:lstStyle>
            <a:lvl1pPr marL="0" indent="0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22116424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2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4" y="697002"/>
            <a:ext cx="1003578" cy="1005269"/>
          </a:xfrm>
        </p:spPr>
        <p:txBody>
          <a:bodyPr rIns="0" anchor="ctr"/>
          <a:lstStyle>
            <a:lvl1pPr marL="0" indent="0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33652644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3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20A70D9-C170-BD45-B4E6-7D1610D9D7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" y="3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1"/>
            <a:ext cx="1220524" cy="877915"/>
          </a:xfrm>
        </p:spPr>
        <p:txBody>
          <a:bodyPr rIns="0" anchor="b"/>
          <a:lstStyle>
            <a:lvl1pPr marL="0" indent="0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4" y="3147154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746E0120-84AF-1C4B-BB04-2033DC9D8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042625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480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3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081A7CD-1F8B-6A48-B6CF-5C1734C843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" y="3"/>
            <a:ext cx="12191999" cy="6857999"/>
          </a:xfrm>
          <a:custGeom>
            <a:avLst/>
            <a:gdLst>
              <a:gd name="connsiteX0" fmla="*/ 458949 w 12191999"/>
              <a:gd name="connsiteY0" fmla="*/ 6222152 h 6857999"/>
              <a:gd name="connsiteX1" fmla="*/ 585042 w 12191999"/>
              <a:gd name="connsiteY1" fmla="*/ 6344203 h 6857999"/>
              <a:gd name="connsiteX2" fmla="*/ 487955 w 12191999"/>
              <a:gd name="connsiteY2" fmla="*/ 6229765 h 6857999"/>
              <a:gd name="connsiteX3" fmla="*/ 458949 w 12191999"/>
              <a:gd name="connsiteY3" fmla="*/ 6222152 h 6857999"/>
              <a:gd name="connsiteX4" fmla="*/ 1581392 w 12191999"/>
              <a:gd name="connsiteY4" fmla="*/ 6206459 h 6857999"/>
              <a:gd name="connsiteX5" fmla="*/ 1633573 w 12191999"/>
              <a:gd name="connsiteY5" fmla="*/ 6206459 h 6857999"/>
              <a:gd name="connsiteX6" fmla="*/ 1647383 w 12191999"/>
              <a:gd name="connsiteY6" fmla="*/ 6207770 h 6857999"/>
              <a:gd name="connsiteX7" fmla="*/ 1675755 w 12191999"/>
              <a:gd name="connsiteY7" fmla="*/ 6242040 h 6857999"/>
              <a:gd name="connsiteX8" fmla="*/ 1647054 w 12191999"/>
              <a:gd name="connsiteY8" fmla="*/ 6276239 h 6857999"/>
              <a:gd name="connsiteX9" fmla="*/ 1647079 w 12191999"/>
              <a:gd name="connsiteY9" fmla="*/ 6276239 h 6857999"/>
              <a:gd name="connsiteX10" fmla="*/ 1629924 w 12191999"/>
              <a:gd name="connsiteY10" fmla="*/ 6277726 h 6857999"/>
              <a:gd name="connsiteX11" fmla="*/ 1581392 w 12191999"/>
              <a:gd name="connsiteY11" fmla="*/ 6277726 h 6857999"/>
              <a:gd name="connsiteX12" fmla="*/ 1117820 w 12191999"/>
              <a:gd name="connsiteY12" fmla="*/ 6204690 h 6857999"/>
              <a:gd name="connsiteX13" fmla="*/ 1192835 w 12191999"/>
              <a:gd name="connsiteY13" fmla="*/ 6243597 h 6857999"/>
              <a:gd name="connsiteX14" fmla="*/ 1150605 w 12191999"/>
              <a:gd name="connsiteY14" fmla="*/ 6277691 h 6857999"/>
              <a:gd name="connsiteX15" fmla="*/ 1150605 w 12191999"/>
              <a:gd name="connsiteY15" fmla="*/ 6277655 h 6857999"/>
              <a:gd name="connsiteX16" fmla="*/ 1098459 w 12191999"/>
              <a:gd name="connsiteY16" fmla="*/ 6277655 h 6857999"/>
              <a:gd name="connsiteX17" fmla="*/ 1098459 w 12191999"/>
              <a:gd name="connsiteY17" fmla="*/ 6205041 h 6857999"/>
              <a:gd name="connsiteX18" fmla="*/ 1117820 w 12191999"/>
              <a:gd name="connsiteY18" fmla="*/ 6204690 h 6857999"/>
              <a:gd name="connsiteX19" fmla="*/ 1826161 w 12191999"/>
              <a:gd name="connsiteY19" fmla="*/ 6170585 h 6857999"/>
              <a:gd name="connsiteX20" fmla="*/ 1876358 w 12191999"/>
              <a:gd name="connsiteY20" fmla="*/ 6213439 h 6857999"/>
              <a:gd name="connsiteX21" fmla="*/ 1776608 w 12191999"/>
              <a:gd name="connsiteY21" fmla="*/ 6213439 h 6857999"/>
              <a:gd name="connsiteX22" fmla="*/ 1826161 w 12191999"/>
              <a:gd name="connsiteY22" fmla="*/ 6170585 h 6857999"/>
              <a:gd name="connsiteX23" fmla="*/ 1914658 w 12191999"/>
              <a:gd name="connsiteY23" fmla="*/ 6137744 h 6857999"/>
              <a:gd name="connsiteX24" fmla="*/ 1986141 w 12191999"/>
              <a:gd name="connsiteY24" fmla="*/ 6317394 h 6857999"/>
              <a:gd name="connsiteX25" fmla="*/ 2025086 w 12191999"/>
              <a:gd name="connsiteY25" fmla="*/ 6317394 h 6857999"/>
              <a:gd name="connsiteX26" fmla="*/ 2096428 w 12191999"/>
              <a:gd name="connsiteY26" fmla="*/ 6137744 h 6857999"/>
              <a:gd name="connsiteX27" fmla="*/ 2051159 w 12191999"/>
              <a:gd name="connsiteY27" fmla="*/ 6137744 h 6857999"/>
              <a:gd name="connsiteX28" fmla="*/ 2006101 w 12191999"/>
              <a:gd name="connsiteY28" fmla="*/ 6266084 h 6857999"/>
              <a:gd name="connsiteX29" fmla="*/ 1960373 w 12191999"/>
              <a:gd name="connsiteY29" fmla="*/ 6137744 h 6857999"/>
              <a:gd name="connsiteX30" fmla="*/ 1825773 w 12191999"/>
              <a:gd name="connsiteY30" fmla="*/ 6133903 h 6857999"/>
              <a:gd name="connsiteX31" fmla="*/ 1734730 w 12191999"/>
              <a:gd name="connsiteY31" fmla="*/ 6228829 h 6857999"/>
              <a:gd name="connsiteX32" fmla="*/ 1827569 w 12191999"/>
              <a:gd name="connsiteY32" fmla="*/ 6321236 h 6857999"/>
              <a:gd name="connsiteX33" fmla="*/ 1912593 w 12191999"/>
              <a:gd name="connsiteY33" fmla="*/ 6262278 h 6857999"/>
              <a:gd name="connsiteX34" fmla="*/ 1869682 w 12191999"/>
              <a:gd name="connsiteY34" fmla="*/ 6262278 h 6857999"/>
              <a:gd name="connsiteX35" fmla="*/ 1828285 w 12191999"/>
              <a:gd name="connsiteY35" fmla="*/ 6284531 h 6857999"/>
              <a:gd name="connsiteX36" fmla="*/ 1776479 w 12191999"/>
              <a:gd name="connsiteY36" fmla="*/ 6242860 h 6857999"/>
              <a:gd name="connsiteX37" fmla="*/ 1916946 w 12191999"/>
              <a:gd name="connsiteY37" fmla="*/ 6242860 h 6857999"/>
              <a:gd name="connsiteX38" fmla="*/ 1918225 w 12191999"/>
              <a:gd name="connsiteY38" fmla="*/ 6225795 h 6857999"/>
              <a:gd name="connsiteX39" fmla="*/ 1825773 w 12191999"/>
              <a:gd name="connsiteY39" fmla="*/ 6133903 h 6857999"/>
              <a:gd name="connsiteX40" fmla="*/ 1437874 w 12191999"/>
              <a:gd name="connsiteY40" fmla="*/ 6133903 h 6857999"/>
              <a:gd name="connsiteX41" fmla="*/ 1381716 w 12191999"/>
              <a:gd name="connsiteY41" fmla="*/ 6164038 h 6857999"/>
              <a:gd name="connsiteX42" fmla="*/ 1381716 w 12191999"/>
              <a:gd name="connsiteY42" fmla="*/ 6137745 h 6857999"/>
              <a:gd name="connsiteX43" fmla="*/ 1342243 w 12191999"/>
              <a:gd name="connsiteY43" fmla="*/ 6137745 h 6857999"/>
              <a:gd name="connsiteX44" fmla="*/ 1342243 w 12191999"/>
              <a:gd name="connsiteY44" fmla="*/ 6317395 h 6857999"/>
              <a:gd name="connsiteX45" fmla="*/ 1384485 w 12191999"/>
              <a:gd name="connsiteY45" fmla="*/ 6317395 h 6857999"/>
              <a:gd name="connsiteX46" fmla="*/ 1384485 w 12191999"/>
              <a:gd name="connsiteY46" fmla="*/ 6222235 h 6857999"/>
              <a:gd name="connsiteX47" fmla="*/ 1386468 w 12191999"/>
              <a:gd name="connsiteY47" fmla="*/ 6202453 h 6857999"/>
              <a:gd name="connsiteX48" fmla="*/ 1425519 w 12191999"/>
              <a:gd name="connsiteY48" fmla="*/ 6171826 h 6857999"/>
              <a:gd name="connsiteX49" fmla="*/ 1462574 w 12191999"/>
              <a:gd name="connsiteY49" fmla="*/ 6203343 h 6857999"/>
              <a:gd name="connsiteX50" fmla="*/ 1463959 w 12191999"/>
              <a:gd name="connsiteY50" fmla="*/ 6222200 h 6857999"/>
              <a:gd name="connsiteX51" fmla="*/ 1463959 w 12191999"/>
              <a:gd name="connsiteY51" fmla="*/ 6317395 h 6857999"/>
              <a:gd name="connsiteX52" fmla="*/ 1506201 w 12191999"/>
              <a:gd name="connsiteY52" fmla="*/ 6317395 h 6857999"/>
              <a:gd name="connsiteX53" fmla="*/ 1506201 w 12191999"/>
              <a:gd name="connsiteY53" fmla="*/ 6211085 h 6857999"/>
              <a:gd name="connsiteX54" fmla="*/ 1502212 w 12191999"/>
              <a:gd name="connsiteY54" fmla="*/ 6179170 h 6857999"/>
              <a:gd name="connsiteX55" fmla="*/ 1437874 w 12191999"/>
              <a:gd name="connsiteY55" fmla="*/ 6133903 h 6857999"/>
              <a:gd name="connsiteX56" fmla="*/ 919998 w 12191999"/>
              <a:gd name="connsiteY56" fmla="*/ 6114613 h 6857999"/>
              <a:gd name="connsiteX57" fmla="*/ 952724 w 12191999"/>
              <a:gd name="connsiteY57" fmla="*/ 6201762 h 6857999"/>
              <a:gd name="connsiteX58" fmla="*/ 863675 w 12191999"/>
              <a:gd name="connsiteY58" fmla="*/ 6259982 h 6857999"/>
              <a:gd name="connsiteX59" fmla="*/ 863675 w 12191999"/>
              <a:gd name="connsiteY59" fmla="*/ 6259959 h 6857999"/>
              <a:gd name="connsiteX60" fmla="*/ 1581369 w 12191999"/>
              <a:gd name="connsiteY60" fmla="*/ 6104318 h 6857999"/>
              <a:gd name="connsiteX61" fmla="*/ 1620278 w 12191999"/>
              <a:gd name="connsiteY61" fmla="*/ 6104318 h 6857999"/>
              <a:gd name="connsiteX62" fmla="*/ 1644637 w 12191999"/>
              <a:gd name="connsiteY62" fmla="*/ 6108324 h 6857999"/>
              <a:gd name="connsiteX63" fmla="*/ 1660890 w 12191999"/>
              <a:gd name="connsiteY63" fmla="*/ 6135894 h 6857999"/>
              <a:gd name="connsiteX64" fmla="*/ 1644062 w 12191999"/>
              <a:gd name="connsiteY64" fmla="*/ 6163804 h 6857999"/>
              <a:gd name="connsiteX65" fmla="*/ 1621769 w 12191999"/>
              <a:gd name="connsiteY65" fmla="*/ 6167493 h 6857999"/>
              <a:gd name="connsiteX66" fmla="*/ 1581392 w 12191999"/>
              <a:gd name="connsiteY66" fmla="*/ 6167493 h 6857999"/>
              <a:gd name="connsiteX67" fmla="*/ 1098459 w 12191999"/>
              <a:gd name="connsiteY67" fmla="*/ 6104318 h 6857999"/>
              <a:gd name="connsiteX68" fmla="*/ 1135644 w 12191999"/>
              <a:gd name="connsiteY68" fmla="*/ 6104318 h 6857999"/>
              <a:gd name="connsiteX69" fmla="*/ 1156143 w 12191999"/>
              <a:gd name="connsiteY69" fmla="*/ 6106871 h 6857999"/>
              <a:gd name="connsiteX70" fmla="*/ 1177980 w 12191999"/>
              <a:gd name="connsiteY70" fmla="*/ 6139220 h 6857999"/>
              <a:gd name="connsiteX71" fmla="*/ 1157281 w 12191999"/>
              <a:gd name="connsiteY71" fmla="*/ 6170292 h 6857999"/>
              <a:gd name="connsiteX72" fmla="*/ 1116623 w 12191999"/>
              <a:gd name="connsiteY72" fmla="*/ 6167106 h 6857999"/>
              <a:gd name="connsiteX73" fmla="*/ 1098459 w 12191999"/>
              <a:gd name="connsiteY73" fmla="*/ 6167387 h 6857999"/>
              <a:gd name="connsiteX74" fmla="*/ 708600 w 12191999"/>
              <a:gd name="connsiteY74" fmla="*/ 6080273 h 6857999"/>
              <a:gd name="connsiteX75" fmla="*/ 608510 w 12191999"/>
              <a:gd name="connsiteY75" fmla="*/ 6229343 h 6857999"/>
              <a:gd name="connsiteX76" fmla="*/ 643571 w 12191999"/>
              <a:gd name="connsiteY76" fmla="*/ 6341907 h 6857999"/>
              <a:gd name="connsiteX77" fmla="*/ 756163 w 12191999"/>
              <a:gd name="connsiteY77" fmla="*/ 6159075 h 6857999"/>
              <a:gd name="connsiteX78" fmla="*/ 708600 w 12191999"/>
              <a:gd name="connsiteY78" fmla="*/ 6080273 h 6857999"/>
              <a:gd name="connsiteX79" fmla="*/ 1538047 w 12191999"/>
              <a:gd name="connsiteY79" fmla="*/ 6064650 h 6857999"/>
              <a:gd name="connsiteX80" fmla="*/ 1538047 w 12191999"/>
              <a:gd name="connsiteY80" fmla="*/ 6317394 h 6857999"/>
              <a:gd name="connsiteX81" fmla="*/ 1627694 w 12191999"/>
              <a:gd name="connsiteY81" fmla="*/ 6317394 h 6857999"/>
              <a:gd name="connsiteX82" fmla="*/ 1668352 w 12191999"/>
              <a:gd name="connsiteY82" fmla="*/ 6311691 h 6857999"/>
              <a:gd name="connsiteX83" fmla="*/ 1719101 w 12191999"/>
              <a:gd name="connsiteY83" fmla="*/ 6243668 h 6857999"/>
              <a:gd name="connsiteX84" fmla="*/ 1679934 w 12191999"/>
              <a:gd name="connsiteY84" fmla="*/ 6182309 h 6857999"/>
              <a:gd name="connsiteX85" fmla="*/ 1704270 w 12191999"/>
              <a:gd name="connsiteY85" fmla="*/ 6132603 h 6857999"/>
              <a:gd name="connsiteX86" fmla="*/ 1653814 w 12191999"/>
              <a:gd name="connsiteY86" fmla="*/ 6068023 h 6857999"/>
              <a:gd name="connsiteX87" fmla="*/ 1618095 w 12191999"/>
              <a:gd name="connsiteY87" fmla="*/ 6064650 h 6857999"/>
              <a:gd name="connsiteX88" fmla="*/ 1261795 w 12191999"/>
              <a:gd name="connsiteY88" fmla="*/ 6064650 h 6857999"/>
              <a:gd name="connsiteX89" fmla="*/ 1261795 w 12191999"/>
              <a:gd name="connsiteY89" fmla="*/ 6317394 h 6857999"/>
              <a:gd name="connsiteX90" fmla="*/ 1305610 w 12191999"/>
              <a:gd name="connsiteY90" fmla="*/ 6317394 h 6857999"/>
              <a:gd name="connsiteX91" fmla="*/ 1305610 w 12191999"/>
              <a:gd name="connsiteY91" fmla="*/ 6064650 h 6857999"/>
              <a:gd name="connsiteX92" fmla="*/ 900344 w 12191999"/>
              <a:gd name="connsiteY92" fmla="*/ 6064638 h 6857999"/>
              <a:gd name="connsiteX93" fmla="*/ 797003 w 12191999"/>
              <a:gd name="connsiteY93" fmla="*/ 6317394 h 6857999"/>
              <a:gd name="connsiteX94" fmla="*/ 839163 w 12191999"/>
              <a:gd name="connsiteY94" fmla="*/ 6317394 h 6857999"/>
              <a:gd name="connsiteX95" fmla="*/ 964399 w 12191999"/>
              <a:gd name="connsiteY95" fmla="*/ 6233068 h 6857999"/>
              <a:gd name="connsiteX96" fmla="*/ 996081 w 12191999"/>
              <a:gd name="connsiteY96" fmla="*/ 6317394 h 6857999"/>
              <a:gd name="connsiteX97" fmla="*/ 1043896 w 12191999"/>
              <a:gd name="connsiteY97" fmla="*/ 6317394 h 6857999"/>
              <a:gd name="connsiteX98" fmla="*/ 1003872 w 12191999"/>
              <a:gd name="connsiteY98" fmla="*/ 6219470 h 6857999"/>
              <a:gd name="connsiteX99" fmla="*/ 1055102 w 12191999"/>
              <a:gd name="connsiteY99" fmla="*/ 6208520 h 6857999"/>
              <a:gd name="connsiteX100" fmla="*/ 1055102 w 12191999"/>
              <a:gd name="connsiteY100" fmla="*/ 6317359 h 6857999"/>
              <a:gd name="connsiteX101" fmla="*/ 1076857 w 12191999"/>
              <a:gd name="connsiteY101" fmla="*/ 6317359 h 6857999"/>
              <a:gd name="connsiteX102" fmla="*/ 1153268 w 12191999"/>
              <a:gd name="connsiteY102" fmla="*/ 6317359 h 6857999"/>
              <a:gd name="connsiteX103" fmla="*/ 1236227 w 12191999"/>
              <a:gd name="connsiteY103" fmla="*/ 6243574 h 6857999"/>
              <a:gd name="connsiteX104" fmla="*/ 1196614 w 12191999"/>
              <a:gd name="connsiteY104" fmla="*/ 6182660 h 6857999"/>
              <a:gd name="connsiteX105" fmla="*/ 1221325 w 12191999"/>
              <a:gd name="connsiteY105" fmla="*/ 6132603 h 6857999"/>
              <a:gd name="connsiteX106" fmla="*/ 1170869 w 12191999"/>
              <a:gd name="connsiteY106" fmla="*/ 6068023 h 6857999"/>
              <a:gd name="connsiteX107" fmla="*/ 1135151 w 12191999"/>
              <a:gd name="connsiteY107" fmla="*/ 6064650 h 6857999"/>
              <a:gd name="connsiteX108" fmla="*/ 1055102 w 12191999"/>
              <a:gd name="connsiteY108" fmla="*/ 6064650 h 6857999"/>
              <a:gd name="connsiteX109" fmla="*/ 1055102 w 12191999"/>
              <a:gd name="connsiteY109" fmla="*/ 6171299 h 6857999"/>
              <a:gd name="connsiteX110" fmla="*/ 990566 w 12191999"/>
              <a:gd name="connsiteY110" fmla="*/ 6186841 h 6857999"/>
              <a:gd name="connsiteX111" fmla="*/ 940556 w 12191999"/>
              <a:gd name="connsiteY111" fmla="*/ 6064638 h 6857999"/>
              <a:gd name="connsiteX112" fmla="*/ 634747 w 12191999"/>
              <a:gd name="connsiteY112" fmla="*/ 6044962 h 6857999"/>
              <a:gd name="connsiteX113" fmla="*/ 458673 w 12191999"/>
              <a:gd name="connsiteY113" fmla="*/ 6167931 h 6857999"/>
              <a:gd name="connsiteX114" fmla="*/ 456919 w 12191999"/>
              <a:gd name="connsiteY114" fmla="*/ 6181266 h 6857999"/>
              <a:gd name="connsiteX115" fmla="*/ 493435 w 12191999"/>
              <a:gd name="connsiteY115" fmla="*/ 6182320 h 6857999"/>
              <a:gd name="connsiteX116" fmla="*/ 634747 w 12191999"/>
              <a:gd name="connsiteY116" fmla="*/ 6044962 h 6857999"/>
              <a:gd name="connsiteX117" fmla="*/ 315913 w 12191999"/>
              <a:gd name="connsiteY117" fmla="*/ 323850 h 6857999"/>
              <a:gd name="connsiteX118" fmla="*/ 315913 w 12191999"/>
              <a:gd name="connsiteY118" fmla="*/ 457200 h 6857999"/>
              <a:gd name="connsiteX119" fmla="*/ 11876087 w 12191999"/>
              <a:gd name="connsiteY119" fmla="*/ 457200 h 6857999"/>
              <a:gd name="connsiteX120" fmla="*/ 11876087 w 12191999"/>
              <a:gd name="connsiteY120" fmla="*/ 323850 h 6857999"/>
              <a:gd name="connsiteX121" fmla="*/ 0 w 12191999"/>
              <a:gd name="connsiteY121" fmla="*/ 0 h 6857999"/>
              <a:gd name="connsiteX122" fmla="*/ 12191999 w 12191999"/>
              <a:gd name="connsiteY122" fmla="*/ 0 h 6857999"/>
              <a:gd name="connsiteX123" fmla="*/ 12191999 w 12191999"/>
              <a:gd name="connsiteY123" fmla="*/ 6857999 h 6857999"/>
              <a:gd name="connsiteX124" fmla="*/ 0 w 12191999"/>
              <a:gd name="connsiteY12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2191999" h="6857999">
                <a:moveTo>
                  <a:pt x="458949" y="6222152"/>
                </a:moveTo>
                <a:cubicBezTo>
                  <a:pt x="470763" y="6285426"/>
                  <a:pt x="521316" y="6334359"/>
                  <a:pt x="585042" y="6344203"/>
                </a:cubicBezTo>
                <a:cubicBezTo>
                  <a:pt x="583411" y="6297437"/>
                  <a:pt x="545440" y="6250331"/>
                  <a:pt x="487955" y="6229765"/>
                </a:cubicBezTo>
                <a:cubicBezTo>
                  <a:pt x="478527" y="6226388"/>
                  <a:pt x="468821" y="6223841"/>
                  <a:pt x="458949" y="6222152"/>
                </a:cubicBezTo>
                <a:close/>
                <a:moveTo>
                  <a:pt x="1581392" y="6206459"/>
                </a:moveTo>
                <a:lnTo>
                  <a:pt x="1633573" y="6206459"/>
                </a:lnTo>
                <a:cubicBezTo>
                  <a:pt x="1638208" y="6206433"/>
                  <a:pt x="1642831" y="6206873"/>
                  <a:pt x="1647383" y="6207770"/>
                </a:cubicBezTo>
                <a:cubicBezTo>
                  <a:pt x="1667895" y="6212315"/>
                  <a:pt x="1675755" y="6228465"/>
                  <a:pt x="1675755" y="6242040"/>
                </a:cubicBezTo>
                <a:cubicBezTo>
                  <a:pt x="1675755" y="6259994"/>
                  <a:pt x="1664198" y="6272175"/>
                  <a:pt x="1647054" y="6276239"/>
                </a:cubicBezTo>
                <a:lnTo>
                  <a:pt x="1647079" y="6276239"/>
                </a:lnTo>
                <a:cubicBezTo>
                  <a:pt x="1641423" y="6277283"/>
                  <a:pt x="1635673" y="6277782"/>
                  <a:pt x="1629924" y="6277726"/>
                </a:cubicBezTo>
                <a:lnTo>
                  <a:pt x="1581392" y="6277726"/>
                </a:lnTo>
                <a:close/>
                <a:moveTo>
                  <a:pt x="1117820" y="6204690"/>
                </a:moveTo>
                <a:cubicBezTo>
                  <a:pt x="1165249" y="6205299"/>
                  <a:pt x="1192835" y="6219084"/>
                  <a:pt x="1192835" y="6243597"/>
                </a:cubicBezTo>
                <a:cubicBezTo>
                  <a:pt x="1192835" y="6265662"/>
                  <a:pt x="1173075" y="6277691"/>
                  <a:pt x="1150605" y="6277691"/>
                </a:cubicBezTo>
                <a:lnTo>
                  <a:pt x="1150605" y="6277655"/>
                </a:lnTo>
                <a:lnTo>
                  <a:pt x="1098459" y="6277655"/>
                </a:lnTo>
                <a:lnTo>
                  <a:pt x="1098459" y="6205041"/>
                </a:lnTo>
                <a:cubicBezTo>
                  <a:pt x="1105065" y="6204760"/>
                  <a:pt x="1111554" y="6204620"/>
                  <a:pt x="1117820" y="6204690"/>
                </a:cubicBezTo>
                <a:close/>
                <a:moveTo>
                  <a:pt x="1826161" y="6170585"/>
                </a:moveTo>
                <a:cubicBezTo>
                  <a:pt x="1852973" y="6170585"/>
                  <a:pt x="1873355" y="6188305"/>
                  <a:pt x="1876358" y="6213439"/>
                </a:cubicBezTo>
                <a:lnTo>
                  <a:pt x="1776608" y="6213439"/>
                </a:lnTo>
                <a:cubicBezTo>
                  <a:pt x="1779636" y="6187579"/>
                  <a:pt x="1800639" y="6170585"/>
                  <a:pt x="1826161" y="6170585"/>
                </a:cubicBezTo>
                <a:close/>
                <a:moveTo>
                  <a:pt x="1914658" y="6137744"/>
                </a:moveTo>
                <a:lnTo>
                  <a:pt x="1986141" y="6317394"/>
                </a:lnTo>
                <a:lnTo>
                  <a:pt x="2025086" y="6317394"/>
                </a:lnTo>
                <a:lnTo>
                  <a:pt x="2096428" y="6137744"/>
                </a:lnTo>
                <a:lnTo>
                  <a:pt x="2051159" y="6137744"/>
                </a:lnTo>
                <a:lnTo>
                  <a:pt x="2006101" y="6266084"/>
                </a:lnTo>
                <a:lnTo>
                  <a:pt x="1960373" y="6137744"/>
                </a:lnTo>
                <a:close/>
                <a:moveTo>
                  <a:pt x="1825773" y="6133903"/>
                </a:moveTo>
                <a:cubicBezTo>
                  <a:pt x="1774543" y="6133903"/>
                  <a:pt x="1734730" y="6175047"/>
                  <a:pt x="1734730" y="6228829"/>
                </a:cubicBezTo>
                <a:cubicBezTo>
                  <a:pt x="1734730" y="6278464"/>
                  <a:pt x="1773933" y="6321236"/>
                  <a:pt x="1827569" y="6321236"/>
                </a:cubicBezTo>
                <a:cubicBezTo>
                  <a:pt x="1866748" y="6321236"/>
                  <a:pt x="1897092" y="6298737"/>
                  <a:pt x="1912593" y="6262278"/>
                </a:cubicBezTo>
                <a:lnTo>
                  <a:pt x="1869682" y="6262278"/>
                </a:lnTo>
                <a:cubicBezTo>
                  <a:pt x="1860013" y="6276719"/>
                  <a:pt x="1847059" y="6284531"/>
                  <a:pt x="1828285" y="6284531"/>
                </a:cubicBezTo>
                <a:cubicBezTo>
                  <a:pt x="1800323" y="6284531"/>
                  <a:pt x="1782030" y="6268134"/>
                  <a:pt x="1776479" y="6242860"/>
                </a:cubicBezTo>
                <a:lnTo>
                  <a:pt x="1916946" y="6242860"/>
                </a:lnTo>
                <a:cubicBezTo>
                  <a:pt x="1917932" y="6237227"/>
                  <a:pt x="1918366" y="6231512"/>
                  <a:pt x="1918225" y="6225795"/>
                </a:cubicBezTo>
                <a:cubicBezTo>
                  <a:pt x="1917791" y="6177518"/>
                  <a:pt x="1880677" y="6133903"/>
                  <a:pt x="1825773" y="6133903"/>
                </a:cubicBezTo>
                <a:close/>
                <a:moveTo>
                  <a:pt x="1437874" y="6133903"/>
                </a:moveTo>
                <a:cubicBezTo>
                  <a:pt x="1416061" y="6133903"/>
                  <a:pt x="1395186" y="6142101"/>
                  <a:pt x="1381716" y="6164038"/>
                </a:cubicBezTo>
                <a:lnTo>
                  <a:pt x="1381716" y="6137745"/>
                </a:lnTo>
                <a:lnTo>
                  <a:pt x="1342243" y="6137745"/>
                </a:lnTo>
                <a:lnTo>
                  <a:pt x="1342243" y="6317395"/>
                </a:lnTo>
                <a:lnTo>
                  <a:pt x="1384485" y="6317395"/>
                </a:lnTo>
                <a:lnTo>
                  <a:pt x="1384485" y="6222235"/>
                </a:lnTo>
                <a:cubicBezTo>
                  <a:pt x="1384377" y="6215587"/>
                  <a:pt x="1385042" y="6208949"/>
                  <a:pt x="1386468" y="6202453"/>
                </a:cubicBezTo>
                <a:cubicBezTo>
                  <a:pt x="1391326" y="6183082"/>
                  <a:pt x="1405160" y="6171826"/>
                  <a:pt x="1425519" y="6171826"/>
                </a:cubicBezTo>
                <a:cubicBezTo>
                  <a:pt x="1446558" y="6171826"/>
                  <a:pt x="1458679" y="6182367"/>
                  <a:pt x="1462574" y="6203343"/>
                </a:cubicBezTo>
                <a:cubicBezTo>
                  <a:pt x="1463564" y="6209579"/>
                  <a:pt x="1464027" y="6215887"/>
                  <a:pt x="1463959" y="6222200"/>
                </a:cubicBezTo>
                <a:lnTo>
                  <a:pt x="1463959" y="6317395"/>
                </a:lnTo>
                <a:lnTo>
                  <a:pt x="1506201" y="6317395"/>
                </a:lnTo>
                <a:lnTo>
                  <a:pt x="1506201" y="6211085"/>
                </a:lnTo>
                <a:cubicBezTo>
                  <a:pt x="1506201" y="6199150"/>
                  <a:pt x="1505028" y="6188375"/>
                  <a:pt x="1502212" y="6179170"/>
                </a:cubicBezTo>
                <a:cubicBezTo>
                  <a:pt x="1493024" y="6148637"/>
                  <a:pt x="1468523" y="6133903"/>
                  <a:pt x="1437874" y="6133903"/>
                </a:cubicBezTo>
                <a:close/>
                <a:moveTo>
                  <a:pt x="919998" y="6114613"/>
                </a:moveTo>
                <a:lnTo>
                  <a:pt x="952724" y="6201762"/>
                </a:lnTo>
                <a:cubicBezTo>
                  <a:pt x="918801" y="6217280"/>
                  <a:pt x="888621" y="6237167"/>
                  <a:pt x="863675" y="6259982"/>
                </a:cubicBezTo>
                <a:lnTo>
                  <a:pt x="863675" y="6259959"/>
                </a:lnTo>
                <a:close/>
                <a:moveTo>
                  <a:pt x="1581369" y="6104318"/>
                </a:moveTo>
                <a:lnTo>
                  <a:pt x="1620278" y="6104318"/>
                </a:lnTo>
                <a:cubicBezTo>
                  <a:pt x="1629149" y="6104318"/>
                  <a:pt x="1638583" y="6105490"/>
                  <a:pt x="1644637" y="6108324"/>
                </a:cubicBezTo>
                <a:cubicBezTo>
                  <a:pt x="1655199" y="6113184"/>
                  <a:pt x="1660890" y="6122261"/>
                  <a:pt x="1660890" y="6135894"/>
                </a:cubicBezTo>
                <a:cubicBezTo>
                  <a:pt x="1660890" y="6149527"/>
                  <a:pt x="1654823" y="6158967"/>
                  <a:pt x="1644062" y="6163804"/>
                </a:cubicBezTo>
                <a:cubicBezTo>
                  <a:pt x="1638677" y="6166216"/>
                  <a:pt x="1630815" y="6167493"/>
                  <a:pt x="1621769" y="6167493"/>
                </a:cubicBezTo>
                <a:lnTo>
                  <a:pt x="1581392" y="6167493"/>
                </a:lnTo>
                <a:close/>
                <a:moveTo>
                  <a:pt x="1098459" y="6104318"/>
                </a:moveTo>
                <a:lnTo>
                  <a:pt x="1135644" y="6104318"/>
                </a:lnTo>
                <a:cubicBezTo>
                  <a:pt x="1144139" y="6104318"/>
                  <a:pt x="1151262" y="6105279"/>
                  <a:pt x="1156143" y="6106871"/>
                </a:cubicBezTo>
                <a:cubicBezTo>
                  <a:pt x="1170224" y="6111474"/>
                  <a:pt x="1177980" y="6122097"/>
                  <a:pt x="1177980" y="6139220"/>
                </a:cubicBezTo>
                <a:cubicBezTo>
                  <a:pt x="1177980" y="6155078"/>
                  <a:pt x="1169978" y="6165502"/>
                  <a:pt x="1157281" y="6170292"/>
                </a:cubicBezTo>
                <a:cubicBezTo>
                  <a:pt x="1143841" y="6168099"/>
                  <a:pt x="1130242" y="6167033"/>
                  <a:pt x="1116623" y="6167106"/>
                </a:cubicBezTo>
                <a:cubicBezTo>
                  <a:pt x="1110968" y="6167106"/>
                  <a:pt x="1104749" y="6167188"/>
                  <a:pt x="1098459" y="6167387"/>
                </a:cubicBezTo>
                <a:close/>
                <a:moveTo>
                  <a:pt x="708600" y="6080273"/>
                </a:moveTo>
                <a:cubicBezTo>
                  <a:pt x="650031" y="6107486"/>
                  <a:pt x="611463" y="6164927"/>
                  <a:pt x="608510" y="6229343"/>
                </a:cubicBezTo>
                <a:cubicBezTo>
                  <a:pt x="606585" y="6269810"/>
                  <a:pt x="618997" y="6309663"/>
                  <a:pt x="643571" y="6341907"/>
                </a:cubicBezTo>
                <a:cubicBezTo>
                  <a:pt x="725244" y="6322452"/>
                  <a:pt x="775653" y="6240596"/>
                  <a:pt x="756163" y="6159075"/>
                </a:cubicBezTo>
                <a:cubicBezTo>
                  <a:pt x="748860" y="6128528"/>
                  <a:pt x="732241" y="6100995"/>
                  <a:pt x="708600" y="6080273"/>
                </a:cubicBezTo>
                <a:close/>
                <a:moveTo>
                  <a:pt x="1538047" y="6064650"/>
                </a:moveTo>
                <a:lnTo>
                  <a:pt x="1538047" y="6317394"/>
                </a:lnTo>
                <a:lnTo>
                  <a:pt x="1627694" y="6317394"/>
                </a:lnTo>
                <a:cubicBezTo>
                  <a:pt x="1645166" y="6317394"/>
                  <a:pt x="1656876" y="6315731"/>
                  <a:pt x="1668352" y="6311691"/>
                </a:cubicBezTo>
                <a:cubicBezTo>
                  <a:pt x="1698391" y="6301150"/>
                  <a:pt x="1719101" y="6277831"/>
                  <a:pt x="1719101" y="6243668"/>
                </a:cubicBezTo>
                <a:cubicBezTo>
                  <a:pt x="1719101" y="6215149"/>
                  <a:pt x="1705525" y="6194875"/>
                  <a:pt x="1679934" y="6182309"/>
                </a:cubicBezTo>
                <a:cubicBezTo>
                  <a:pt x="1697064" y="6169179"/>
                  <a:pt x="1704270" y="6154118"/>
                  <a:pt x="1704270" y="6132603"/>
                </a:cubicBezTo>
                <a:cubicBezTo>
                  <a:pt x="1704270" y="6100395"/>
                  <a:pt x="1684322" y="6076257"/>
                  <a:pt x="1653814" y="6068023"/>
                </a:cubicBezTo>
                <a:cubicBezTo>
                  <a:pt x="1645904" y="6065903"/>
                  <a:pt x="1633057" y="6064650"/>
                  <a:pt x="1618095" y="6064650"/>
                </a:cubicBezTo>
                <a:close/>
                <a:moveTo>
                  <a:pt x="1261795" y="6064650"/>
                </a:moveTo>
                <a:lnTo>
                  <a:pt x="1261795" y="6317394"/>
                </a:lnTo>
                <a:lnTo>
                  <a:pt x="1305610" y="6317394"/>
                </a:lnTo>
                <a:lnTo>
                  <a:pt x="1305610" y="6064650"/>
                </a:lnTo>
                <a:close/>
                <a:moveTo>
                  <a:pt x="900344" y="6064638"/>
                </a:moveTo>
                <a:lnTo>
                  <a:pt x="797003" y="6317394"/>
                </a:lnTo>
                <a:lnTo>
                  <a:pt x="839163" y="6317394"/>
                </a:lnTo>
                <a:cubicBezTo>
                  <a:pt x="875609" y="6278944"/>
                  <a:pt x="919106" y="6251350"/>
                  <a:pt x="964399" y="6233068"/>
                </a:cubicBezTo>
                <a:lnTo>
                  <a:pt x="996081" y="6317394"/>
                </a:lnTo>
                <a:lnTo>
                  <a:pt x="1043896" y="6317394"/>
                </a:lnTo>
                <a:lnTo>
                  <a:pt x="1003872" y="6219470"/>
                </a:lnTo>
                <a:cubicBezTo>
                  <a:pt x="1020688" y="6214697"/>
                  <a:pt x="1037802" y="6211039"/>
                  <a:pt x="1055102" y="6208520"/>
                </a:cubicBezTo>
                <a:lnTo>
                  <a:pt x="1055102" y="6317359"/>
                </a:lnTo>
                <a:lnTo>
                  <a:pt x="1076857" y="6317359"/>
                </a:lnTo>
                <a:lnTo>
                  <a:pt x="1153268" y="6317359"/>
                </a:lnTo>
                <a:cubicBezTo>
                  <a:pt x="1207244" y="6317359"/>
                  <a:pt x="1236227" y="6285737"/>
                  <a:pt x="1236227" y="6243574"/>
                </a:cubicBezTo>
                <a:cubicBezTo>
                  <a:pt x="1236227" y="6218112"/>
                  <a:pt x="1223543" y="6196386"/>
                  <a:pt x="1196614" y="6182660"/>
                </a:cubicBezTo>
                <a:cubicBezTo>
                  <a:pt x="1214872" y="6169331"/>
                  <a:pt x="1221325" y="6149409"/>
                  <a:pt x="1221325" y="6132603"/>
                </a:cubicBezTo>
                <a:cubicBezTo>
                  <a:pt x="1221325" y="6100395"/>
                  <a:pt x="1201377" y="6076256"/>
                  <a:pt x="1170869" y="6068023"/>
                </a:cubicBezTo>
                <a:cubicBezTo>
                  <a:pt x="1162961" y="6065903"/>
                  <a:pt x="1150112" y="6064650"/>
                  <a:pt x="1135151" y="6064650"/>
                </a:cubicBezTo>
                <a:lnTo>
                  <a:pt x="1055102" y="6064650"/>
                </a:lnTo>
                <a:lnTo>
                  <a:pt x="1055102" y="6171299"/>
                </a:lnTo>
                <a:cubicBezTo>
                  <a:pt x="1033182" y="6174617"/>
                  <a:pt x="1011591" y="6179817"/>
                  <a:pt x="990566" y="6186841"/>
                </a:cubicBezTo>
                <a:lnTo>
                  <a:pt x="940556" y="6064638"/>
                </a:lnTo>
                <a:close/>
                <a:moveTo>
                  <a:pt x="634747" y="6044962"/>
                </a:moveTo>
                <a:cubicBezTo>
                  <a:pt x="552104" y="6030388"/>
                  <a:pt x="473274" y="6085443"/>
                  <a:pt x="458673" y="6167931"/>
                </a:cubicBezTo>
                <a:cubicBezTo>
                  <a:pt x="457891" y="6172348"/>
                  <a:pt x="457306" y="6176797"/>
                  <a:pt x="456919" y="6181266"/>
                </a:cubicBezTo>
                <a:cubicBezTo>
                  <a:pt x="469009" y="6183023"/>
                  <a:pt x="481263" y="6183377"/>
                  <a:pt x="493435" y="6182320"/>
                </a:cubicBezTo>
                <a:cubicBezTo>
                  <a:pt x="569307" y="6175714"/>
                  <a:pt x="627706" y="6116709"/>
                  <a:pt x="634747" y="6044962"/>
                </a:cubicBezTo>
                <a:close/>
                <a:moveTo>
                  <a:pt x="315913" y="323850"/>
                </a:moveTo>
                <a:lnTo>
                  <a:pt x="315913" y="457200"/>
                </a:lnTo>
                <a:lnTo>
                  <a:pt x="11876087" y="457200"/>
                </a:lnTo>
                <a:lnTo>
                  <a:pt x="11876087" y="32385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pct25">
            <a:fgClr>
              <a:srgbClr val="00000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r>
              <a:rPr lang="en-US"/>
              <a:t>                                                                      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        Insert background image he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D728CFB-FB1D-A144-A2DF-F2F53E296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042625"/>
            <a:ext cx="1639229" cy="302169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4" y="697002"/>
            <a:ext cx="1003578" cy="1005269"/>
          </a:xfrm>
        </p:spPr>
        <p:txBody>
          <a:bodyPr rIns="0" anchor="ctr"/>
          <a:lstStyle>
            <a:lvl1pPr marL="0" indent="0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</p:spTree>
    <p:extLst>
      <p:ext uri="{BB962C8B-B14F-4D97-AF65-F5344CB8AC3E}">
        <p14:creationId xmlns:p14="http://schemas.microsoft.com/office/powerpoint/2010/main" val="703904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1"/>
            <a:ext cx="12214870" cy="6870865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526234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71595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9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FDC538C-453C-984C-87FF-534B5D16EC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2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1501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9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A0AECFF-4C68-7C49-A99C-8B4DFD8FB2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2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593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2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9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FE6B1B0-D2AE-F240-84B0-FAEDCA784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042625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4876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559D9588-0A02-3A40-BF37-BC5483B6FF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</p:spTree>
    <p:extLst>
      <p:ext uri="{BB962C8B-B14F-4D97-AF65-F5344CB8AC3E}">
        <p14:creationId xmlns:p14="http://schemas.microsoft.com/office/powerpoint/2010/main" val="41239484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466BE7B-AA02-B944-A4CA-F65E209052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8751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5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854B7CD-F6A9-7549-BDCD-2CD44121B8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6786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2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70B897-195B-7245-861A-65B35E51C0CE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AFE8621-F92E-3E41-BF03-A62A339E439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AABDB3F-B05A-1748-95B2-C2BDF62C5E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4101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2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02A656-3E41-2C4D-AAE4-37421CE7218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DA89A4D8-F0EE-EA43-8E3A-BA7DC33F0D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6A89897-8BE7-0B4C-B3E6-DA84EFA5E7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83581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2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5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C70A1AF-4442-9648-9B13-665C358F3D57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BEC6FF5-5B15-9E41-98A4-3FA211302A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CBCC60-40BF-6940-A22C-3B6DF8D501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46153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8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5386F56-68A3-D547-8FD3-2A6EE760C5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6424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5" name="Graphic 4">
            <a:extLst>
              <a:ext uri="{FF2B5EF4-FFF2-40B4-BE49-F238E27FC236}">
                <a16:creationId xmlns:a16="http://schemas.microsoft.com/office/drawing/2014/main" id="{7E7758C5-ECC7-B540-BC94-E927D20811EE}"/>
              </a:ext>
            </a:extLst>
          </p:cNvPr>
          <p:cNvGrpSpPr/>
          <p:nvPr userDrawn="1"/>
        </p:nvGrpSpPr>
        <p:grpSpPr>
          <a:xfrm>
            <a:off x="453487" y="610181"/>
            <a:ext cx="2029870" cy="373384"/>
            <a:chOff x="497541" y="-650117"/>
            <a:chExt cx="2029870" cy="373384"/>
          </a:xfrm>
          <a:solidFill>
            <a:srgbClr val="01010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C0E54352-DA9D-6A45-8DDA-592DA4618DFE}"/>
                </a:ext>
              </a:extLst>
            </p:cNvPr>
            <p:cNvSpPr/>
            <p:nvPr/>
          </p:nvSpPr>
          <p:spPr>
            <a:xfrm>
              <a:off x="497541" y="-650117"/>
              <a:ext cx="375677" cy="373384"/>
            </a:xfrm>
            <a:custGeom>
              <a:avLst/>
              <a:gdLst>
                <a:gd name="connsiteX0" fmla="*/ 187684 w 375677"/>
                <a:gd name="connsiteY0" fmla="*/ 231177 h 373384"/>
                <a:gd name="connsiteX1" fmla="*/ 231092 w 375677"/>
                <a:gd name="connsiteY1" fmla="*/ 370542 h 373384"/>
                <a:gd name="connsiteX2" fmla="*/ 370493 w 375677"/>
                <a:gd name="connsiteY2" fmla="*/ 144178 h 373384"/>
                <a:gd name="connsiteX3" fmla="*/ 311605 w 375677"/>
                <a:gd name="connsiteY3" fmla="*/ 46614 h 373384"/>
                <a:gd name="connsiteX4" fmla="*/ 187684 w 375677"/>
                <a:gd name="connsiteY4" fmla="*/ 231177 h 373384"/>
                <a:gd name="connsiteX5" fmla="*/ 45210 w 375677"/>
                <a:gd name="connsiteY5" fmla="*/ 172958 h 373384"/>
                <a:gd name="connsiteX6" fmla="*/ 220168 w 375677"/>
                <a:gd name="connsiteY6" fmla="*/ 2895 h 373384"/>
                <a:gd name="connsiteX7" fmla="*/ 2171 w 375677"/>
                <a:gd name="connsiteY7" fmla="*/ 155143 h 373384"/>
                <a:gd name="connsiteX8" fmla="*/ 0 w 375677"/>
                <a:gd name="connsiteY8" fmla="*/ 171653 h 373384"/>
                <a:gd name="connsiteX9" fmla="*/ 45210 w 375677"/>
                <a:gd name="connsiteY9" fmla="*/ 172958 h 373384"/>
                <a:gd name="connsiteX10" fmla="*/ 38426 w 375677"/>
                <a:gd name="connsiteY10" fmla="*/ 231699 h 373384"/>
                <a:gd name="connsiteX11" fmla="*/ 2513 w 375677"/>
                <a:gd name="connsiteY11" fmla="*/ 222274 h 373384"/>
                <a:gd name="connsiteX12" fmla="*/ 158628 w 375677"/>
                <a:gd name="connsiteY12" fmla="*/ 373384 h 373384"/>
                <a:gd name="connsiteX13" fmla="*/ 38426 w 375677"/>
                <a:gd name="connsiteY13" fmla="*/ 231699 h 37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5677" h="373384">
                  <a:moveTo>
                    <a:pt x="187684" y="231177"/>
                  </a:moveTo>
                  <a:cubicBezTo>
                    <a:pt x="185300" y="281280"/>
                    <a:pt x="200669" y="330620"/>
                    <a:pt x="231092" y="370542"/>
                  </a:cubicBezTo>
                  <a:cubicBezTo>
                    <a:pt x="332213" y="346456"/>
                    <a:pt x="394624" y="245109"/>
                    <a:pt x="370493" y="144178"/>
                  </a:cubicBezTo>
                  <a:cubicBezTo>
                    <a:pt x="361450" y="106358"/>
                    <a:pt x="340875" y="72270"/>
                    <a:pt x="311605" y="46614"/>
                  </a:cubicBezTo>
                  <a:cubicBezTo>
                    <a:pt x="239091" y="80307"/>
                    <a:pt x="191340" y="151425"/>
                    <a:pt x="187684" y="231177"/>
                  </a:cubicBezTo>
                  <a:close/>
                  <a:moveTo>
                    <a:pt x="45210" y="172958"/>
                  </a:moveTo>
                  <a:cubicBezTo>
                    <a:pt x="139146" y="164779"/>
                    <a:pt x="211451" y="91726"/>
                    <a:pt x="220168" y="2895"/>
                  </a:cubicBezTo>
                  <a:cubicBezTo>
                    <a:pt x="117849" y="-15148"/>
                    <a:pt x="20248" y="53016"/>
                    <a:pt x="2171" y="155143"/>
                  </a:cubicBezTo>
                  <a:cubicBezTo>
                    <a:pt x="1203" y="160612"/>
                    <a:pt x="479" y="166120"/>
                    <a:pt x="0" y="171653"/>
                  </a:cubicBezTo>
                  <a:cubicBezTo>
                    <a:pt x="14969" y="173829"/>
                    <a:pt x="30140" y="174267"/>
                    <a:pt x="45210" y="172958"/>
                  </a:cubicBezTo>
                  <a:close/>
                  <a:moveTo>
                    <a:pt x="38426" y="231699"/>
                  </a:moveTo>
                  <a:cubicBezTo>
                    <a:pt x="26753" y="227519"/>
                    <a:pt x="14736" y="224366"/>
                    <a:pt x="2513" y="222274"/>
                  </a:cubicBezTo>
                  <a:cubicBezTo>
                    <a:pt x="17141" y="300613"/>
                    <a:pt x="79730" y="361196"/>
                    <a:pt x="158628" y="373384"/>
                  </a:cubicBezTo>
                  <a:cubicBezTo>
                    <a:pt x="156609" y="315484"/>
                    <a:pt x="109597" y="257162"/>
                    <a:pt x="38426" y="23169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8422E281-917E-B74F-B168-E31E6BB6D96F}"/>
                </a:ext>
              </a:extLst>
            </p:cNvPr>
            <p:cNvSpPr/>
            <p:nvPr/>
          </p:nvSpPr>
          <p:spPr>
            <a:xfrm>
              <a:off x="1494055" y="-622846"/>
              <a:ext cx="54246" cy="312921"/>
            </a:xfrm>
            <a:custGeom>
              <a:avLst/>
              <a:gdLst>
                <a:gd name="connsiteX0" fmla="*/ 0 w 54246"/>
                <a:gd name="connsiteY0" fmla="*/ 0 h 312921"/>
                <a:gd name="connsiteX1" fmla="*/ 54247 w 54246"/>
                <a:gd name="connsiteY1" fmla="*/ 0 h 312921"/>
                <a:gd name="connsiteX2" fmla="*/ 54247 w 54246"/>
                <a:gd name="connsiteY2" fmla="*/ 312922 h 312921"/>
                <a:gd name="connsiteX3" fmla="*/ 0 w 54246"/>
                <a:gd name="connsiteY3" fmla="*/ 312922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46" h="312921">
                  <a:moveTo>
                    <a:pt x="0" y="0"/>
                  </a:moveTo>
                  <a:lnTo>
                    <a:pt x="54247" y="0"/>
                  </a:lnTo>
                  <a:lnTo>
                    <a:pt x="54247" y="312922"/>
                  </a:lnTo>
                  <a:lnTo>
                    <a:pt x="0" y="312922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81E3174-F74F-F84F-90B1-8909ECE00B83}"/>
                </a:ext>
              </a:extLst>
            </p:cNvPr>
            <p:cNvSpPr/>
            <p:nvPr/>
          </p:nvSpPr>
          <p:spPr>
            <a:xfrm>
              <a:off x="1593657" y="-537104"/>
              <a:ext cx="202995" cy="227179"/>
            </a:xfrm>
            <a:custGeom>
              <a:avLst/>
              <a:gdLst>
                <a:gd name="connsiteX0" fmla="*/ 118401 w 202995"/>
                <a:gd name="connsiteY0" fmla="*/ 0 h 227179"/>
                <a:gd name="connsiteX1" fmla="*/ 48871 w 202995"/>
                <a:gd name="connsiteY1" fmla="*/ 37310 h 227179"/>
                <a:gd name="connsiteX2" fmla="*/ 48871 w 202995"/>
                <a:gd name="connsiteY2" fmla="*/ 4756 h 227179"/>
                <a:gd name="connsiteX3" fmla="*/ 0 w 202995"/>
                <a:gd name="connsiteY3" fmla="*/ 4756 h 227179"/>
                <a:gd name="connsiteX4" fmla="*/ 0 w 202995"/>
                <a:gd name="connsiteY4" fmla="*/ 227180 h 227179"/>
                <a:gd name="connsiteX5" fmla="*/ 52300 w 202995"/>
                <a:gd name="connsiteY5" fmla="*/ 227180 h 227179"/>
                <a:gd name="connsiteX6" fmla="*/ 52300 w 202995"/>
                <a:gd name="connsiteY6" fmla="*/ 109363 h 227179"/>
                <a:gd name="connsiteX7" fmla="*/ 54755 w 202995"/>
                <a:gd name="connsiteY7" fmla="*/ 84872 h 227179"/>
                <a:gd name="connsiteX8" fmla="*/ 103103 w 202995"/>
                <a:gd name="connsiteY8" fmla="*/ 46953 h 227179"/>
                <a:gd name="connsiteX9" fmla="*/ 148982 w 202995"/>
                <a:gd name="connsiteY9" fmla="*/ 85974 h 227179"/>
                <a:gd name="connsiteX10" fmla="*/ 150696 w 202995"/>
                <a:gd name="connsiteY10" fmla="*/ 109320 h 227179"/>
                <a:gd name="connsiteX11" fmla="*/ 150696 w 202995"/>
                <a:gd name="connsiteY11" fmla="*/ 227180 h 227179"/>
                <a:gd name="connsiteX12" fmla="*/ 202996 w 202995"/>
                <a:gd name="connsiteY12" fmla="*/ 227180 h 227179"/>
                <a:gd name="connsiteX13" fmla="*/ 202996 w 202995"/>
                <a:gd name="connsiteY13" fmla="*/ 95559 h 227179"/>
                <a:gd name="connsiteX14" fmla="*/ 198056 w 202995"/>
                <a:gd name="connsiteY14" fmla="*/ 56045 h 227179"/>
                <a:gd name="connsiteX15" fmla="*/ 118401 w 202995"/>
                <a:gd name="connsiteY15" fmla="*/ 0 h 22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2995" h="227179">
                  <a:moveTo>
                    <a:pt x="118401" y="0"/>
                  </a:moveTo>
                  <a:cubicBezTo>
                    <a:pt x="91394" y="0"/>
                    <a:pt x="65549" y="10150"/>
                    <a:pt x="48871" y="37310"/>
                  </a:cubicBezTo>
                  <a:lnTo>
                    <a:pt x="48871" y="4756"/>
                  </a:lnTo>
                  <a:lnTo>
                    <a:pt x="0" y="4756"/>
                  </a:lnTo>
                  <a:lnTo>
                    <a:pt x="0" y="227180"/>
                  </a:lnTo>
                  <a:lnTo>
                    <a:pt x="52300" y="227180"/>
                  </a:lnTo>
                  <a:lnTo>
                    <a:pt x="52300" y="109363"/>
                  </a:lnTo>
                  <a:cubicBezTo>
                    <a:pt x="52167" y="101132"/>
                    <a:pt x="52991" y="92913"/>
                    <a:pt x="54755" y="84872"/>
                  </a:cubicBezTo>
                  <a:cubicBezTo>
                    <a:pt x="60769" y="60888"/>
                    <a:pt x="77898" y="46953"/>
                    <a:pt x="103103" y="46953"/>
                  </a:cubicBezTo>
                  <a:cubicBezTo>
                    <a:pt x="129151" y="46953"/>
                    <a:pt x="144159" y="60003"/>
                    <a:pt x="148982" y="85974"/>
                  </a:cubicBezTo>
                  <a:cubicBezTo>
                    <a:pt x="150207" y="93694"/>
                    <a:pt x="150780" y="101503"/>
                    <a:pt x="150696" y="109320"/>
                  </a:cubicBezTo>
                  <a:lnTo>
                    <a:pt x="150696" y="227180"/>
                  </a:lnTo>
                  <a:lnTo>
                    <a:pt x="202996" y="227180"/>
                  </a:lnTo>
                  <a:lnTo>
                    <a:pt x="202996" y="95559"/>
                  </a:lnTo>
                  <a:cubicBezTo>
                    <a:pt x="202996" y="80783"/>
                    <a:pt x="201543" y="67442"/>
                    <a:pt x="198056" y="56045"/>
                  </a:cubicBezTo>
                  <a:cubicBezTo>
                    <a:pt x="186681" y="18242"/>
                    <a:pt x="156347" y="0"/>
                    <a:pt x="118401" y="0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D6E0B5A-B49C-C949-8AB3-DDDC66549294}"/>
                </a:ext>
              </a:extLst>
            </p:cNvPr>
            <p:cNvSpPr/>
            <p:nvPr/>
          </p:nvSpPr>
          <p:spPr>
            <a:xfrm>
              <a:off x="1836081" y="-622846"/>
              <a:ext cx="224162" cy="312921"/>
            </a:xfrm>
            <a:custGeom>
              <a:avLst/>
              <a:gdLst>
                <a:gd name="connsiteX0" fmla="*/ 175669 w 224162"/>
                <a:gd name="connsiteY0" fmla="*/ 145672 h 312921"/>
                <a:gd name="connsiteX1" fmla="*/ 205800 w 224162"/>
                <a:gd name="connsiteY1" fmla="*/ 84132 h 312921"/>
                <a:gd name="connsiteX2" fmla="*/ 143331 w 224162"/>
                <a:gd name="connsiteY2" fmla="*/ 4176 h 312921"/>
                <a:gd name="connsiteX3" fmla="*/ 99108 w 224162"/>
                <a:gd name="connsiteY3" fmla="*/ 0 h 312921"/>
                <a:gd name="connsiteX4" fmla="*/ 0 w 224162"/>
                <a:gd name="connsiteY4" fmla="*/ 0 h 312921"/>
                <a:gd name="connsiteX5" fmla="*/ 0 w 224162"/>
                <a:gd name="connsiteY5" fmla="*/ 312922 h 312921"/>
                <a:gd name="connsiteX6" fmla="*/ 110992 w 224162"/>
                <a:gd name="connsiteY6" fmla="*/ 312922 h 312921"/>
                <a:gd name="connsiteX7" fmla="*/ 161330 w 224162"/>
                <a:gd name="connsiteY7" fmla="*/ 305860 h 312921"/>
                <a:gd name="connsiteX8" fmla="*/ 224163 w 224162"/>
                <a:gd name="connsiteY8" fmla="*/ 221641 h 312921"/>
                <a:gd name="connsiteX9" fmla="*/ 175669 w 224162"/>
                <a:gd name="connsiteY9" fmla="*/ 145672 h 312921"/>
                <a:gd name="connsiteX10" fmla="*/ 53636 w 224162"/>
                <a:gd name="connsiteY10" fmla="*/ 49113 h 312921"/>
                <a:gd name="connsiteX11" fmla="*/ 101810 w 224162"/>
                <a:gd name="connsiteY11" fmla="*/ 49113 h 312921"/>
                <a:gd name="connsiteX12" fmla="*/ 131970 w 224162"/>
                <a:gd name="connsiteY12" fmla="*/ 54073 h 312921"/>
                <a:gd name="connsiteX13" fmla="*/ 152091 w 224162"/>
                <a:gd name="connsiteY13" fmla="*/ 88207 h 312921"/>
                <a:gd name="connsiteX14" fmla="*/ 131258 w 224162"/>
                <a:gd name="connsiteY14" fmla="*/ 122762 h 312921"/>
                <a:gd name="connsiteX15" fmla="*/ 103655 w 224162"/>
                <a:gd name="connsiteY15" fmla="*/ 127329 h 312921"/>
                <a:gd name="connsiteX16" fmla="*/ 53665 w 224162"/>
                <a:gd name="connsiteY16" fmla="*/ 127329 h 312921"/>
                <a:gd name="connsiteX17" fmla="*/ 134992 w 224162"/>
                <a:gd name="connsiteY17" fmla="*/ 261967 h 312921"/>
                <a:gd name="connsiteX18" fmla="*/ 113752 w 224162"/>
                <a:gd name="connsiteY18" fmla="*/ 263808 h 312921"/>
                <a:gd name="connsiteX19" fmla="*/ 53665 w 224162"/>
                <a:gd name="connsiteY19" fmla="*/ 263808 h 312921"/>
                <a:gd name="connsiteX20" fmla="*/ 53665 w 224162"/>
                <a:gd name="connsiteY20" fmla="*/ 175573 h 312921"/>
                <a:gd name="connsiteX21" fmla="*/ 118270 w 224162"/>
                <a:gd name="connsiteY21" fmla="*/ 175573 h 312921"/>
                <a:gd name="connsiteX22" fmla="*/ 135369 w 224162"/>
                <a:gd name="connsiteY22" fmla="*/ 177197 h 312921"/>
                <a:gd name="connsiteX23" fmla="*/ 170497 w 224162"/>
                <a:gd name="connsiteY23" fmla="*/ 219625 h 312921"/>
                <a:gd name="connsiteX24" fmla="*/ 134963 w 224162"/>
                <a:gd name="connsiteY24" fmla="*/ 261967 h 31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4162" h="312921">
                  <a:moveTo>
                    <a:pt x="175669" y="145672"/>
                  </a:moveTo>
                  <a:cubicBezTo>
                    <a:pt x="196880" y="129417"/>
                    <a:pt x="205800" y="110770"/>
                    <a:pt x="205800" y="84132"/>
                  </a:cubicBezTo>
                  <a:cubicBezTo>
                    <a:pt x="205800" y="44256"/>
                    <a:pt x="181103" y="14370"/>
                    <a:pt x="143331" y="4176"/>
                  </a:cubicBezTo>
                  <a:cubicBezTo>
                    <a:pt x="133539" y="1552"/>
                    <a:pt x="117631" y="0"/>
                    <a:pt x="99108" y="0"/>
                  </a:cubicBezTo>
                  <a:lnTo>
                    <a:pt x="0" y="0"/>
                  </a:lnTo>
                  <a:lnTo>
                    <a:pt x="0" y="312922"/>
                  </a:lnTo>
                  <a:lnTo>
                    <a:pt x="110992" y="312922"/>
                  </a:lnTo>
                  <a:cubicBezTo>
                    <a:pt x="132624" y="312922"/>
                    <a:pt x="147122" y="310863"/>
                    <a:pt x="161330" y="305860"/>
                  </a:cubicBezTo>
                  <a:cubicBezTo>
                    <a:pt x="198521" y="292809"/>
                    <a:pt x="224163" y="263939"/>
                    <a:pt x="224163" y="221641"/>
                  </a:cubicBezTo>
                  <a:cubicBezTo>
                    <a:pt x="224163" y="186332"/>
                    <a:pt x="207354" y="161232"/>
                    <a:pt x="175669" y="145672"/>
                  </a:cubicBezTo>
                  <a:close/>
                  <a:moveTo>
                    <a:pt x="53636" y="49113"/>
                  </a:moveTo>
                  <a:lnTo>
                    <a:pt x="101810" y="49113"/>
                  </a:lnTo>
                  <a:cubicBezTo>
                    <a:pt x="112793" y="49113"/>
                    <a:pt x="124473" y="50563"/>
                    <a:pt x="131970" y="54073"/>
                  </a:cubicBezTo>
                  <a:cubicBezTo>
                    <a:pt x="145045" y="60090"/>
                    <a:pt x="152091" y="71328"/>
                    <a:pt x="152091" y="88207"/>
                  </a:cubicBezTo>
                  <a:cubicBezTo>
                    <a:pt x="152091" y="105085"/>
                    <a:pt x="144580" y="116773"/>
                    <a:pt x="131258" y="122762"/>
                  </a:cubicBezTo>
                  <a:cubicBezTo>
                    <a:pt x="124590" y="125749"/>
                    <a:pt x="114856" y="127329"/>
                    <a:pt x="103655" y="127329"/>
                  </a:cubicBezTo>
                  <a:lnTo>
                    <a:pt x="53665" y="127329"/>
                  </a:lnTo>
                  <a:close/>
                  <a:moveTo>
                    <a:pt x="134992" y="261967"/>
                  </a:moveTo>
                  <a:cubicBezTo>
                    <a:pt x="127987" y="263261"/>
                    <a:pt x="120875" y="263877"/>
                    <a:pt x="113752" y="263808"/>
                  </a:cubicBezTo>
                  <a:lnTo>
                    <a:pt x="53665" y="263808"/>
                  </a:lnTo>
                  <a:lnTo>
                    <a:pt x="53665" y="175573"/>
                  </a:lnTo>
                  <a:lnTo>
                    <a:pt x="118270" y="175573"/>
                  </a:lnTo>
                  <a:cubicBezTo>
                    <a:pt x="124010" y="175541"/>
                    <a:pt x="129738" y="176085"/>
                    <a:pt x="135369" y="177197"/>
                  </a:cubicBezTo>
                  <a:cubicBezTo>
                    <a:pt x="160764" y="182823"/>
                    <a:pt x="170497" y="202819"/>
                    <a:pt x="170497" y="219625"/>
                  </a:cubicBezTo>
                  <a:cubicBezTo>
                    <a:pt x="170497" y="241855"/>
                    <a:pt x="156188" y="256935"/>
                    <a:pt x="134963" y="261967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35C402-87FC-9C4D-81CE-9E56ECE7FCDF}"/>
                </a:ext>
              </a:extLst>
            </p:cNvPr>
            <p:cNvSpPr/>
            <p:nvPr/>
          </p:nvSpPr>
          <p:spPr>
            <a:xfrm>
              <a:off x="2302362" y="-532348"/>
              <a:ext cx="225048" cy="222423"/>
            </a:xfrm>
            <a:custGeom>
              <a:avLst/>
              <a:gdLst>
                <a:gd name="connsiteX0" fmla="*/ 169001 w 225048"/>
                <a:gd name="connsiteY0" fmla="*/ 0 h 222423"/>
                <a:gd name="connsiteX1" fmla="*/ 113215 w 225048"/>
                <a:gd name="connsiteY1" fmla="*/ 158897 h 222423"/>
                <a:gd name="connsiteX2" fmla="*/ 56600 w 225048"/>
                <a:gd name="connsiteY2" fmla="*/ 0 h 222423"/>
                <a:gd name="connsiteX3" fmla="*/ 0 w 225048"/>
                <a:gd name="connsiteY3" fmla="*/ 0 h 222423"/>
                <a:gd name="connsiteX4" fmla="*/ 88503 w 225048"/>
                <a:gd name="connsiteY4" fmla="*/ 222424 h 222423"/>
                <a:gd name="connsiteX5" fmla="*/ 136720 w 225048"/>
                <a:gd name="connsiteY5" fmla="*/ 222424 h 222423"/>
                <a:gd name="connsiteX6" fmla="*/ 225049 w 225048"/>
                <a:gd name="connsiteY6" fmla="*/ 0 h 222423"/>
                <a:gd name="connsiteX7" fmla="*/ 169001 w 225048"/>
                <a:gd name="connsiteY7" fmla="*/ 0 h 22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048" h="222423">
                  <a:moveTo>
                    <a:pt x="169001" y="0"/>
                  </a:moveTo>
                  <a:lnTo>
                    <a:pt x="113215" y="158897"/>
                  </a:lnTo>
                  <a:lnTo>
                    <a:pt x="56600" y="0"/>
                  </a:lnTo>
                  <a:lnTo>
                    <a:pt x="0" y="0"/>
                  </a:lnTo>
                  <a:lnTo>
                    <a:pt x="88503" y="222424"/>
                  </a:lnTo>
                  <a:lnTo>
                    <a:pt x="136720" y="222424"/>
                  </a:lnTo>
                  <a:lnTo>
                    <a:pt x="225049" y="0"/>
                  </a:lnTo>
                  <a:lnTo>
                    <a:pt x="169001" y="0"/>
                  </a:ln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A1CC364-F4C8-7844-B75E-97248698E11B}"/>
                </a:ext>
              </a:extLst>
            </p:cNvPr>
            <p:cNvSpPr/>
            <p:nvPr/>
          </p:nvSpPr>
          <p:spPr>
            <a:xfrm>
              <a:off x="2079594" y="-537104"/>
              <a:ext cx="227215" cy="231936"/>
            </a:xfrm>
            <a:custGeom>
              <a:avLst/>
              <a:gdLst>
                <a:gd name="connsiteX0" fmla="*/ 112721 w 227215"/>
                <a:gd name="connsiteY0" fmla="*/ 0 h 231936"/>
                <a:gd name="connsiteX1" fmla="*/ 0 w 227215"/>
                <a:gd name="connsiteY1" fmla="*/ 117527 h 231936"/>
                <a:gd name="connsiteX2" fmla="*/ 114943 w 227215"/>
                <a:gd name="connsiteY2" fmla="*/ 231936 h 231936"/>
                <a:gd name="connsiteX3" fmla="*/ 220211 w 227215"/>
                <a:gd name="connsiteY3" fmla="*/ 158940 h 231936"/>
                <a:gd name="connsiteX4" fmla="*/ 167083 w 227215"/>
                <a:gd name="connsiteY4" fmla="*/ 158940 h 231936"/>
                <a:gd name="connsiteX5" fmla="*/ 115829 w 227215"/>
                <a:gd name="connsiteY5" fmla="*/ 186491 h 231936"/>
                <a:gd name="connsiteX6" fmla="*/ 51690 w 227215"/>
                <a:gd name="connsiteY6" fmla="*/ 134899 h 231936"/>
                <a:gd name="connsiteX7" fmla="*/ 225601 w 227215"/>
                <a:gd name="connsiteY7" fmla="*/ 134899 h 231936"/>
                <a:gd name="connsiteX8" fmla="*/ 227184 w 227215"/>
                <a:gd name="connsiteY8" fmla="*/ 113771 h 231936"/>
                <a:gd name="connsiteX9" fmla="*/ 112721 w 227215"/>
                <a:gd name="connsiteY9" fmla="*/ 0 h 231936"/>
                <a:gd name="connsiteX10" fmla="*/ 51850 w 227215"/>
                <a:gd name="connsiteY10" fmla="*/ 98473 h 231936"/>
                <a:gd name="connsiteX11" fmla="*/ 113200 w 227215"/>
                <a:gd name="connsiteY11" fmla="*/ 45416 h 231936"/>
                <a:gd name="connsiteX12" fmla="*/ 175349 w 227215"/>
                <a:gd name="connsiteY12" fmla="*/ 98473 h 23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215" h="231936">
                  <a:moveTo>
                    <a:pt x="112721" y="0"/>
                  </a:moveTo>
                  <a:cubicBezTo>
                    <a:pt x="49293" y="0"/>
                    <a:pt x="0" y="50940"/>
                    <a:pt x="0" y="117527"/>
                  </a:cubicBezTo>
                  <a:cubicBezTo>
                    <a:pt x="0" y="178980"/>
                    <a:pt x="48537" y="231936"/>
                    <a:pt x="114943" y="231936"/>
                  </a:cubicBezTo>
                  <a:cubicBezTo>
                    <a:pt x="163451" y="231936"/>
                    <a:pt x="201020" y="204081"/>
                    <a:pt x="220211" y="158940"/>
                  </a:cubicBezTo>
                  <a:lnTo>
                    <a:pt x="167083" y="158940"/>
                  </a:lnTo>
                  <a:cubicBezTo>
                    <a:pt x="155112" y="176820"/>
                    <a:pt x="139074" y="186491"/>
                    <a:pt x="115829" y="186491"/>
                  </a:cubicBezTo>
                  <a:cubicBezTo>
                    <a:pt x="81210" y="186491"/>
                    <a:pt x="58561" y="166191"/>
                    <a:pt x="51690" y="134899"/>
                  </a:cubicBezTo>
                  <a:lnTo>
                    <a:pt x="225601" y="134899"/>
                  </a:lnTo>
                  <a:cubicBezTo>
                    <a:pt x="226825" y="127925"/>
                    <a:pt x="227355" y="120849"/>
                    <a:pt x="227184" y="113771"/>
                  </a:cubicBezTo>
                  <a:cubicBezTo>
                    <a:pt x="226647" y="54000"/>
                    <a:pt x="180696" y="0"/>
                    <a:pt x="112721" y="0"/>
                  </a:cubicBezTo>
                  <a:close/>
                  <a:moveTo>
                    <a:pt x="51850" y="98473"/>
                  </a:moveTo>
                  <a:cubicBezTo>
                    <a:pt x="55598" y="66456"/>
                    <a:pt x="81602" y="45416"/>
                    <a:pt x="113200" y="45416"/>
                  </a:cubicBezTo>
                  <a:cubicBezTo>
                    <a:pt x="146396" y="45416"/>
                    <a:pt x="171630" y="67355"/>
                    <a:pt x="175349" y="98473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AFBA741-2ACB-D343-81BA-4782D6F3E540}"/>
                </a:ext>
              </a:extLst>
            </p:cNvPr>
            <p:cNvSpPr/>
            <p:nvPr/>
          </p:nvSpPr>
          <p:spPr>
            <a:xfrm>
              <a:off x="918597" y="-622860"/>
              <a:ext cx="543801" cy="312936"/>
            </a:xfrm>
            <a:custGeom>
              <a:avLst/>
              <a:gdLst>
                <a:gd name="connsiteX0" fmla="*/ 494756 w 543801"/>
                <a:gd name="connsiteY0" fmla="*/ 146122 h 312936"/>
                <a:gd name="connsiteX1" fmla="*/ 525351 w 543801"/>
                <a:gd name="connsiteY1" fmla="*/ 84147 h 312936"/>
                <a:gd name="connsiteX2" fmla="*/ 462882 w 543801"/>
                <a:gd name="connsiteY2" fmla="*/ 4191 h 312936"/>
                <a:gd name="connsiteX3" fmla="*/ 418660 w 543801"/>
                <a:gd name="connsiteY3" fmla="*/ 15 h 312936"/>
                <a:gd name="connsiteX4" fmla="*/ 319552 w 543801"/>
                <a:gd name="connsiteY4" fmla="*/ 15 h 312936"/>
                <a:gd name="connsiteX5" fmla="*/ 319552 w 543801"/>
                <a:gd name="connsiteY5" fmla="*/ 132056 h 312936"/>
                <a:gd name="connsiteX6" fmla="*/ 239649 w 543801"/>
                <a:gd name="connsiteY6" fmla="*/ 151299 h 312936"/>
                <a:gd name="connsiteX7" fmla="*/ 177732 w 543801"/>
                <a:gd name="connsiteY7" fmla="*/ 0 h 312936"/>
                <a:gd name="connsiteX8" fmla="*/ 127946 w 543801"/>
                <a:gd name="connsiteY8" fmla="*/ 0 h 312936"/>
                <a:gd name="connsiteX9" fmla="*/ 0 w 543801"/>
                <a:gd name="connsiteY9" fmla="*/ 312936 h 312936"/>
                <a:gd name="connsiteX10" fmla="*/ 52198 w 543801"/>
                <a:gd name="connsiteY10" fmla="*/ 312936 h 312936"/>
                <a:gd name="connsiteX11" fmla="*/ 207252 w 543801"/>
                <a:gd name="connsiteY11" fmla="*/ 208532 h 312936"/>
                <a:gd name="connsiteX12" fmla="*/ 246477 w 543801"/>
                <a:gd name="connsiteY12" fmla="*/ 312936 h 312936"/>
                <a:gd name="connsiteX13" fmla="*/ 305678 w 543801"/>
                <a:gd name="connsiteY13" fmla="*/ 312936 h 312936"/>
                <a:gd name="connsiteX14" fmla="*/ 256124 w 543801"/>
                <a:gd name="connsiteY14" fmla="*/ 191697 h 312936"/>
                <a:gd name="connsiteX15" fmla="*/ 319552 w 543801"/>
                <a:gd name="connsiteY15" fmla="*/ 178139 h 312936"/>
                <a:gd name="connsiteX16" fmla="*/ 319552 w 543801"/>
                <a:gd name="connsiteY16" fmla="*/ 312893 h 312936"/>
                <a:gd name="connsiteX17" fmla="*/ 346486 w 543801"/>
                <a:gd name="connsiteY17" fmla="*/ 312893 h 312936"/>
                <a:gd name="connsiteX18" fmla="*/ 346486 w 543801"/>
                <a:gd name="connsiteY18" fmla="*/ 312893 h 312936"/>
                <a:gd name="connsiteX19" fmla="*/ 441091 w 543801"/>
                <a:gd name="connsiteY19" fmla="*/ 312893 h 312936"/>
                <a:gd name="connsiteX20" fmla="*/ 543802 w 543801"/>
                <a:gd name="connsiteY20" fmla="*/ 221539 h 312936"/>
                <a:gd name="connsiteX21" fmla="*/ 494756 w 543801"/>
                <a:gd name="connsiteY21" fmla="*/ 146122 h 312936"/>
                <a:gd name="connsiteX22" fmla="*/ 82546 w 543801"/>
                <a:gd name="connsiteY22" fmla="*/ 241826 h 312936"/>
                <a:gd name="connsiteX23" fmla="*/ 152280 w 543801"/>
                <a:gd name="connsiteY23" fmla="*/ 61874 h 312936"/>
                <a:gd name="connsiteX24" fmla="*/ 192797 w 543801"/>
                <a:gd name="connsiteY24" fmla="*/ 169772 h 312936"/>
                <a:gd name="connsiteX25" fmla="*/ 82546 w 543801"/>
                <a:gd name="connsiteY25" fmla="*/ 241855 h 312936"/>
                <a:gd name="connsiteX26" fmla="*/ 373232 w 543801"/>
                <a:gd name="connsiteY26" fmla="*/ 49128 h 312936"/>
                <a:gd name="connsiteX27" fmla="*/ 419270 w 543801"/>
                <a:gd name="connsiteY27" fmla="*/ 49128 h 312936"/>
                <a:gd name="connsiteX28" fmla="*/ 444650 w 543801"/>
                <a:gd name="connsiteY28" fmla="*/ 52289 h 312936"/>
                <a:gd name="connsiteX29" fmla="*/ 471686 w 543801"/>
                <a:gd name="connsiteY29" fmla="*/ 92339 h 312936"/>
                <a:gd name="connsiteX30" fmla="*/ 446059 w 543801"/>
                <a:gd name="connsiteY30" fmla="*/ 130809 h 312936"/>
                <a:gd name="connsiteX31" fmla="*/ 395720 w 543801"/>
                <a:gd name="connsiteY31" fmla="*/ 126865 h 312936"/>
                <a:gd name="connsiteX32" fmla="*/ 373232 w 543801"/>
                <a:gd name="connsiteY32" fmla="*/ 127213 h 312936"/>
                <a:gd name="connsiteX33" fmla="*/ 437793 w 543801"/>
                <a:gd name="connsiteY33" fmla="*/ 263736 h 312936"/>
                <a:gd name="connsiteX34" fmla="*/ 373232 w 543801"/>
                <a:gd name="connsiteY34" fmla="*/ 263736 h 312936"/>
                <a:gd name="connsiteX35" fmla="*/ 373232 w 543801"/>
                <a:gd name="connsiteY35" fmla="*/ 173833 h 312936"/>
                <a:gd name="connsiteX36" fmla="*/ 397202 w 543801"/>
                <a:gd name="connsiteY36" fmla="*/ 173398 h 312936"/>
                <a:gd name="connsiteX37" fmla="*/ 490078 w 543801"/>
                <a:gd name="connsiteY37" fmla="*/ 221568 h 312936"/>
                <a:gd name="connsiteX38" fmla="*/ 437793 w 543801"/>
                <a:gd name="connsiteY38" fmla="*/ 263779 h 31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3801" h="312936">
                  <a:moveTo>
                    <a:pt x="494756" y="146122"/>
                  </a:moveTo>
                  <a:cubicBezTo>
                    <a:pt x="517361" y="129620"/>
                    <a:pt x="525351" y="104955"/>
                    <a:pt x="525351" y="84147"/>
                  </a:cubicBezTo>
                  <a:cubicBezTo>
                    <a:pt x="525351" y="44270"/>
                    <a:pt x="500654" y="14385"/>
                    <a:pt x="462882" y="4191"/>
                  </a:cubicBezTo>
                  <a:cubicBezTo>
                    <a:pt x="453090" y="1566"/>
                    <a:pt x="437183" y="15"/>
                    <a:pt x="418660" y="15"/>
                  </a:cubicBezTo>
                  <a:lnTo>
                    <a:pt x="319552" y="15"/>
                  </a:lnTo>
                  <a:lnTo>
                    <a:pt x="319552" y="132056"/>
                  </a:lnTo>
                  <a:cubicBezTo>
                    <a:pt x="292413" y="136165"/>
                    <a:pt x="265679" y="142603"/>
                    <a:pt x="239649" y="151299"/>
                  </a:cubicBezTo>
                  <a:lnTo>
                    <a:pt x="177732" y="0"/>
                  </a:lnTo>
                  <a:lnTo>
                    <a:pt x="127946" y="0"/>
                  </a:lnTo>
                  <a:lnTo>
                    <a:pt x="0" y="312936"/>
                  </a:lnTo>
                  <a:lnTo>
                    <a:pt x="52198" y="312936"/>
                  </a:lnTo>
                  <a:cubicBezTo>
                    <a:pt x="97321" y="265331"/>
                    <a:pt x="151175" y="231168"/>
                    <a:pt x="207252" y="208532"/>
                  </a:cubicBezTo>
                  <a:lnTo>
                    <a:pt x="246477" y="312936"/>
                  </a:lnTo>
                  <a:lnTo>
                    <a:pt x="305678" y="312936"/>
                  </a:lnTo>
                  <a:lnTo>
                    <a:pt x="256124" y="191697"/>
                  </a:lnTo>
                  <a:cubicBezTo>
                    <a:pt x="276944" y="185787"/>
                    <a:pt x="298133" y="181258"/>
                    <a:pt x="319552" y="178139"/>
                  </a:cubicBezTo>
                  <a:lnTo>
                    <a:pt x="319552" y="312893"/>
                  </a:lnTo>
                  <a:lnTo>
                    <a:pt x="346486" y="312893"/>
                  </a:lnTo>
                  <a:lnTo>
                    <a:pt x="346486" y="312893"/>
                  </a:lnTo>
                  <a:lnTo>
                    <a:pt x="441091" y="312893"/>
                  </a:lnTo>
                  <a:cubicBezTo>
                    <a:pt x="507918" y="312893"/>
                    <a:pt x="543802" y="273741"/>
                    <a:pt x="543802" y="221539"/>
                  </a:cubicBezTo>
                  <a:cubicBezTo>
                    <a:pt x="543802" y="190015"/>
                    <a:pt x="528097" y="163117"/>
                    <a:pt x="494756" y="146122"/>
                  </a:cubicBezTo>
                  <a:close/>
                  <a:moveTo>
                    <a:pt x="82546" y="241826"/>
                  </a:moveTo>
                  <a:lnTo>
                    <a:pt x="152280" y="61874"/>
                  </a:lnTo>
                  <a:lnTo>
                    <a:pt x="192797" y="169772"/>
                  </a:lnTo>
                  <a:cubicBezTo>
                    <a:pt x="150798" y="188986"/>
                    <a:pt x="113432" y="213608"/>
                    <a:pt x="82546" y="241855"/>
                  </a:cubicBezTo>
                  <a:close/>
                  <a:moveTo>
                    <a:pt x="373232" y="49128"/>
                  </a:moveTo>
                  <a:lnTo>
                    <a:pt x="419270" y="49128"/>
                  </a:lnTo>
                  <a:cubicBezTo>
                    <a:pt x="429788" y="49128"/>
                    <a:pt x="438606" y="50317"/>
                    <a:pt x="444650" y="52289"/>
                  </a:cubicBezTo>
                  <a:cubicBezTo>
                    <a:pt x="462083" y="57988"/>
                    <a:pt x="471686" y="71140"/>
                    <a:pt x="471686" y="92339"/>
                  </a:cubicBezTo>
                  <a:cubicBezTo>
                    <a:pt x="471686" y="111973"/>
                    <a:pt x="461778" y="124879"/>
                    <a:pt x="446059" y="130809"/>
                  </a:cubicBezTo>
                  <a:cubicBezTo>
                    <a:pt x="429419" y="128095"/>
                    <a:pt x="412581" y="126776"/>
                    <a:pt x="395720" y="126865"/>
                  </a:cubicBezTo>
                  <a:cubicBezTo>
                    <a:pt x="388718" y="126865"/>
                    <a:pt x="381018" y="126967"/>
                    <a:pt x="373232" y="127213"/>
                  </a:cubicBezTo>
                  <a:close/>
                  <a:moveTo>
                    <a:pt x="437793" y="263736"/>
                  </a:moveTo>
                  <a:lnTo>
                    <a:pt x="373232" y="263736"/>
                  </a:lnTo>
                  <a:lnTo>
                    <a:pt x="373232" y="173833"/>
                  </a:lnTo>
                  <a:cubicBezTo>
                    <a:pt x="381411" y="173485"/>
                    <a:pt x="389445" y="173311"/>
                    <a:pt x="397202" y="173398"/>
                  </a:cubicBezTo>
                  <a:cubicBezTo>
                    <a:pt x="455923" y="174152"/>
                    <a:pt x="490078" y="191219"/>
                    <a:pt x="490078" y="221568"/>
                  </a:cubicBezTo>
                  <a:cubicBezTo>
                    <a:pt x="490078" y="248887"/>
                    <a:pt x="465613" y="263779"/>
                    <a:pt x="437793" y="263779"/>
                  </a:cubicBezTo>
                  <a:close/>
                </a:path>
              </a:pathLst>
            </a:custGeom>
            <a:solidFill>
              <a:srgbClr val="010101"/>
            </a:solidFill>
            <a:ln w="14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117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6249016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2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8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8D3B8B-576D-A34D-8263-9CA98E8C5635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A12A138-0343-3E40-824B-7179CAD99A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6CBA753-0E4E-C34D-821B-60F5976996C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22352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40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6D4EC-BD9E-5A4B-9153-76EB35274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6164"/>
          <a:stretch/>
        </p:blipFill>
        <p:spPr>
          <a:xfrm>
            <a:off x="289645" y="6209608"/>
            <a:ext cx="842722" cy="28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391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2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40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92CCBA-C3BE-114B-861C-23DC51313260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26A08B5-47A4-6548-B134-FC7B46440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0473832-3282-1E48-B025-F5C223393A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3175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2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40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1" y="1482726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0FF8FA-1795-3146-8574-C386D1AED17F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F51C4ED-7181-3646-9339-3BE88DD0AD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FDA23EC-068C-AA4C-A2E2-4740DEE643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59002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1" y="1482726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2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40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BA931-AD31-AB49-A612-3D70D35D927A}"/>
              </a:ext>
            </a:extLst>
          </p:cNvPr>
          <p:cNvGrpSpPr/>
          <p:nvPr userDrawn="1"/>
        </p:nvGrpSpPr>
        <p:grpSpPr>
          <a:xfrm>
            <a:off x="289645" y="6209608"/>
            <a:ext cx="842722" cy="288548"/>
            <a:chOff x="289645" y="6209608"/>
            <a:chExt cx="842722" cy="28854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377CC0A0-F19D-A64C-8869-90044325A6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372"/>
            <a:stretch/>
          </p:blipFill>
          <p:spPr>
            <a:xfrm>
              <a:off x="289645" y="6209608"/>
              <a:ext cx="307255" cy="28854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94715E36-1DD5-8249-B868-9849890119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19776" r="46164"/>
            <a:stretch/>
          </p:blipFill>
          <p:spPr>
            <a:xfrm>
              <a:off x="599207" y="6209608"/>
              <a:ext cx="533160" cy="288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73287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2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90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714F7CA-7500-7141-B146-60316B280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042625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8571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5CEB78-B401-4194-90FF-1E5C96C75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581092-62C3-6BF5-25D0-220CFAA067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A5BBF-75AA-FE38-2031-B52FD975E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C7BA7-F55A-4FDF-A201-2C17A16CF642}" type="datetimeFigureOut">
              <a:rPr lang="en-US" smtClean="0"/>
              <a:t>8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1E47AB-D538-745F-3A42-3334DBC30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E471D-5F85-68E4-E851-B7D67C873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4CD26-5490-471A-9844-29D838AAF3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659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2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2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97A7C5-26BB-A14C-86C7-70222AC86F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042625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133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2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93A86E1-099B-C945-9A97-F2452A972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042625"/>
            <a:ext cx="1639229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074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2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08C37A1-EB6E-4848-A9AC-25C27ECC91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2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362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533769E-BCC3-D44B-918F-2B0B94F35E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2"/>
            <a:ext cx="1639228" cy="3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719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raphic 55">
            <a:extLst>
              <a:ext uri="{FF2B5EF4-FFF2-40B4-BE49-F238E27FC236}">
                <a16:creationId xmlns:a16="http://schemas.microsoft.com/office/drawing/2014/main" id="{1C622189-E9B4-7E4D-92BD-3C997E98C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5805378"/>
            <a:ext cx="2926265" cy="539416"/>
          </a:xfrm>
          <a:prstGeom prst="rect">
            <a:avLst/>
          </a:prstGeom>
        </p:spPr>
      </p:pic>
      <p:sp>
        <p:nvSpPr>
          <p:cNvPr id="110" name="Picture Placeholder 109">
            <a:extLst>
              <a:ext uri="{FF2B5EF4-FFF2-40B4-BE49-F238E27FC236}">
                <a16:creationId xmlns:a16="http://schemas.microsoft.com/office/drawing/2014/main" id="{3C2E1B8E-BB10-9548-ADFF-E251148013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1496675" cy="6858000"/>
          </a:xfrm>
          <a:custGeom>
            <a:avLst/>
            <a:gdLst>
              <a:gd name="connsiteX0" fmla="*/ 460301 w 11496675"/>
              <a:gd name="connsiteY0" fmla="*/ 6126917 h 6858000"/>
              <a:gd name="connsiteX1" fmla="*/ 685389 w 11496675"/>
              <a:gd name="connsiteY1" fmla="*/ 6344795 h 6858000"/>
              <a:gd name="connsiteX2" fmla="*/ 512080 w 11496675"/>
              <a:gd name="connsiteY2" fmla="*/ 6140507 h 6858000"/>
              <a:gd name="connsiteX3" fmla="*/ 460301 w 11496675"/>
              <a:gd name="connsiteY3" fmla="*/ 6126917 h 6858000"/>
              <a:gd name="connsiteX4" fmla="*/ 2464041 w 11496675"/>
              <a:gd name="connsiteY4" fmla="*/ 6098900 h 6858000"/>
              <a:gd name="connsiteX5" fmla="*/ 2557192 w 11496675"/>
              <a:gd name="connsiteY5" fmla="*/ 6098900 h 6858000"/>
              <a:gd name="connsiteX6" fmla="*/ 2581846 w 11496675"/>
              <a:gd name="connsiteY6" fmla="*/ 6101242 h 6858000"/>
              <a:gd name="connsiteX7" fmla="*/ 2632496 w 11496675"/>
              <a:gd name="connsiteY7" fmla="*/ 6162417 h 6858000"/>
              <a:gd name="connsiteX8" fmla="*/ 2581260 w 11496675"/>
              <a:gd name="connsiteY8" fmla="*/ 6223468 h 6858000"/>
              <a:gd name="connsiteX9" fmla="*/ 2581302 w 11496675"/>
              <a:gd name="connsiteY9" fmla="*/ 6223468 h 6858000"/>
              <a:gd name="connsiteX10" fmla="*/ 2550677 w 11496675"/>
              <a:gd name="connsiteY10" fmla="*/ 6226123 h 6858000"/>
              <a:gd name="connsiteX11" fmla="*/ 2464041 w 11496675"/>
              <a:gd name="connsiteY11" fmla="*/ 6226123 h 6858000"/>
              <a:gd name="connsiteX12" fmla="*/ 1636491 w 11496675"/>
              <a:gd name="connsiteY12" fmla="*/ 6095743 h 6858000"/>
              <a:gd name="connsiteX13" fmla="*/ 1770405 w 11496675"/>
              <a:gd name="connsiteY13" fmla="*/ 6165198 h 6858000"/>
              <a:gd name="connsiteX14" fmla="*/ 1695017 w 11496675"/>
              <a:gd name="connsiteY14" fmla="*/ 6226060 h 6858000"/>
              <a:gd name="connsiteX15" fmla="*/ 1695017 w 11496675"/>
              <a:gd name="connsiteY15" fmla="*/ 6225997 h 6858000"/>
              <a:gd name="connsiteX16" fmla="*/ 1601928 w 11496675"/>
              <a:gd name="connsiteY16" fmla="*/ 6225997 h 6858000"/>
              <a:gd name="connsiteX17" fmla="*/ 1601928 w 11496675"/>
              <a:gd name="connsiteY17" fmla="*/ 6096370 h 6858000"/>
              <a:gd name="connsiteX18" fmla="*/ 1636491 w 11496675"/>
              <a:gd name="connsiteY18" fmla="*/ 6095743 h 6858000"/>
              <a:gd name="connsiteX19" fmla="*/ 2900995 w 11496675"/>
              <a:gd name="connsiteY19" fmla="*/ 6034860 h 6858000"/>
              <a:gd name="connsiteX20" fmla="*/ 2990605 w 11496675"/>
              <a:gd name="connsiteY20" fmla="*/ 6111361 h 6858000"/>
              <a:gd name="connsiteX21" fmla="*/ 2812536 w 11496675"/>
              <a:gd name="connsiteY21" fmla="*/ 6111361 h 6858000"/>
              <a:gd name="connsiteX22" fmla="*/ 2900995 w 11496675"/>
              <a:gd name="connsiteY22" fmla="*/ 6034860 h 6858000"/>
              <a:gd name="connsiteX23" fmla="*/ 3058976 w 11496675"/>
              <a:gd name="connsiteY23" fmla="*/ 5976235 h 6858000"/>
              <a:gd name="connsiteX24" fmla="*/ 3186585 w 11496675"/>
              <a:gd name="connsiteY24" fmla="*/ 6296937 h 6858000"/>
              <a:gd name="connsiteX25" fmla="*/ 3256107 w 11496675"/>
              <a:gd name="connsiteY25" fmla="*/ 6296937 h 6858000"/>
              <a:gd name="connsiteX26" fmla="*/ 3383465 w 11496675"/>
              <a:gd name="connsiteY26" fmla="*/ 5976235 h 6858000"/>
              <a:gd name="connsiteX27" fmla="*/ 3302652 w 11496675"/>
              <a:gd name="connsiteY27" fmla="*/ 5976235 h 6858000"/>
              <a:gd name="connsiteX28" fmla="*/ 3222216 w 11496675"/>
              <a:gd name="connsiteY28" fmla="*/ 6205340 h 6858000"/>
              <a:gd name="connsiteX29" fmla="*/ 3140585 w 11496675"/>
              <a:gd name="connsiteY29" fmla="*/ 5976235 h 6858000"/>
              <a:gd name="connsiteX30" fmla="*/ 2900303 w 11496675"/>
              <a:gd name="connsiteY30" fmla="*/ 5969377 h 6858000"/>
              <a:gd name="connsiteX31" fmla="*/ 2737776 w 11496675"/>
              <a:gd name="connsiteY31" fmla="*/ 6138833 h 6858000"/>
              <a:gd name="connsiteX32" fmla="*/ 2903508 w 11496675"/>
              <a:gd name="connsiteY32" fmla="*/ 6303794 h 6858000"/>
              <a:gd name="connsiteX33" fmla="*/ 3055289 w 11496675"/>
              <a:gd name="connsiteY33" fmla="*/ 6198545 h 6858000"/>
              <a:gd name="connsiteX34" fmla="*/ 2978687 w 11496675"/>
              <a:gd name="connsiteY34" fmla="*/ 6198545 h 6858000"/>
              <a:gd name="connsiteX35" fmla="*/ 2904786 w 11496675"/>
              <a:gd name="connsiteY35" fmla="*/ 6238270 h 6858000"/>
              <a:gd name="connsiteX36" fmla="*/ 2812305 w 11496675"/>
              <a:gd name="connsiteY36" fmla="*/ 6163880 h 6858000"/>
              <a:gd name="connsiteX37" fmla="*/ 3063061 w 11496675"/>
              <a:gd name="connsiteY37" fmla="*/ 6163880 h 6858000"/>
              <a:gd name="connsiteX38" fmla="*/ 3065344 w 11496675"/>
              <a:gd name="connsiteY38" fmla="*/ 6133418 h 6858000"/>
              <a:gd name="connsiteX39" fmla="*/ 2900303 w 11496675"/>
              <a:gd name="connsiteY39" fmla="*/ 5969377 h 6858000"/>
              <a:gd name="connsiteX40" fmla="*/ 2207839 w 11496675"/>
              <a:gd name="connsiteY40" fmla="*/ 5969377 h 6858000"/>
              <a:gd name="connsiteX41" fmla="*/ 2107587 w 11496675"/>
              <a:gd name="connsiteY41" fmla="*/ 6023172 h 6858000"/>
              <a:gd name="connsiteX42" fmla="*/ 2107587 w 11496675"/>
              <a:gd name="connsiteY42" fmla="*/ 5976235 h 6858000"/>
              <a:gd name="connsiteX43" fmla="*/ 2037122 w 11496675"/>
              <a:gd name="connsiteY43" fmla="*/ 5976235 h 6858000"/>
              <a:gd name="connsiteX44" fmla="*/ 2037122 w 11496675"/>
              <a:gd name="connsiteY44" fmla="*/ 6296936 h 6858000"/>
              <a:gd name="connsiteX45" fmla="*/ 2112531 w 11496675"/>
              <a:gd name="connsiteY45" fmla="*/ 6296936 h 6858000"/>
              <a:gd name="connsiteX46" fmla="*/ 2112531 w 11496675"/>
              <a:gd name="connsiteY46" fmla="*/ 6127062 h 6858000"/>
              <a:gd name="connsiteX47" fmla="*/ 2116071 w 11496675"/>
              <a:gd name="connsiteY47" fmla="*/ 6091749 h 6858000"/>
              <a:gd name="connsiteX48" fmla="*/ 2185782 w 11496675"/>
              <a:gd name="connsiteY48" fmla="*/ 6037076 h 6858000"/>
              <a:gd name="connsiteX49" fmla="*/ 2251933 w 11496675"/>
              <a:gd name="connsiteY49" fmla="*/ 6093338 h 6858000"/>
              <a:gd name="connsiteX50" fmla="*/ 2254404 w 11496675"/>
              <a:gd name="connsiteY50" fmla="*/ 6126999 h 6858000"/>
              <a:gd name="connsiteX51" fmla="*/ 2254404 w 11496675"/>
              <a:gd name="connsiteY51" fmla="*/ 6296936 h 6858000"/>
              <a:gd name="connsiteX52" fmla="*/ 2329813 w 11496675"/>
              <a:gd name="connsiteY52" fmla="*/ 6296936 h 6858000"/>
              <a:gd name="connsiteX53" fmla="*/ 2329813 w 11496675"/>
              <a:gd name="connsiteY53" fmla="*/ 6107158 h 6858000"/>
              <a:gd name="connsiteX54" fmla="*/ 2322691 w 11496675"/>
              <a:gd name="connsiteY54" fmla="*/ 6050185 h 6858000"/>
              <a:gd name="connsiteX55" fmla="*/ 2207839 w 11496675"/>
              <a:gd name="connsiteY55" fmla="*/ 5969377 h 6858000"/>
              <a:gd name="connsiteX56" fmla="*/ 1283347 w 11496675"/>
              <a:gd name="connsiteY56" fmla="*/ 5934943 h 6858000"/>
              <a:gd name="connsiteX57" fmla="*/ 1341768 w 11496675"/>
              <a:gd name="connsiteY57" fmla="*/ 6090516 h 6858000"/>
              <a:gd name="connsiteX58" fmla="*/ 1182801 w 11496675"/>
              <a:gd name="connsiteY58" fmla="*/ 6194448 h 6858000"/>
              <a:gd name="connsiteX59" fmla="*/ 1182801 w 11496675"/>
              <a:gd name="connsiteY59" fmla="*/ 6194406 h 6858000"/>
              <a:gd name="connsiteX60" fmla="*/ 2463999 w 11496675"/>
              <a:gd name="connsiteY60" fmla="*/ 5916565 h 6858000"/>
              <a:gd name="connsiteX61" fmla="*/ 2533459 w 11496675"/>
              <a:gd name="connsiteY61" fmla="*/ 5916565 h 6858000"/>
              <a:gd name="connsiteX62" fmla="*/ 2576945 w 11496675"/>
              <a:gd name="connsiteY62" fmla="*/ 5923715 h 6858000"/>
              <a:gd name="connsiteX63" fmla="*/ 2605957 w 11496675"/>
              <a:gd name="connsiteY63" fmla="*/ 5972932 h 6858000"/>
              <a:gd name="connsiteX64" fmla="*/ 2575918 w 11496675"/>
              <a:gd name="connsiteY64" fmla="*/ 6022755 h 6858000"/>
              <a:gd name="connsiteX65" fmla="*/ 2536119 w 11496675"/>
              <a:gd name="connsiteY65" fmla="*/ 6029341 h 6858000"/>
              <a:gd name="connsiteX66" fmla="*/ 2464041 w 11496675"/>
              <a:gd name="connsiteY66" fmla="*/ 6029341 h 6858000"/>
              <a:gd name="connsiteX67" fmla="*/ 1601928 w 11496675"/>
              <a:gd name="connsiteY67" fmla="*/ 5916565 h 6858000"/>
              <a:gd name="connsiteX68" fmla="*/ 1668309 w 11496675"/>
              <a:gd name="connsiteY68" fmla="*/ 5916565 h 6858000"/>
              <a:gd name="connsiteX69" fmla="*/ 1704904 w 11496675"/>
              <a:gd name="connsiteY69" fmla="*/ 5921123 h 6858000"/>
              <a:gd name="connsiteX70" fmla="*/ 1743886 w 11496675"/>
              <a:gd name="connsiteY70" fmla="*/ 5978870 h 6858000"/>
              <a:gd name="connsiteX71" fmla="*/ 1706935 w 11496675"/>
              <a:gd name="connsiteY71" fmla="*/ 6034337 h 6858000"/>
              <a:gd name="connsiteX72" fmla="*/ 1634354 w 11496675"/>
              <a:gd name="connsiteY72" fmla="*/ 6028651 h 6858000"/>
              <a:gd name="connsiteX73" fmla="*/ 1601928 w 11496675"/>
              <a:gd name="connsiteY73" fmla="*/ 6029152 h 6858000"/>
              <a:gd name="connsiteX74" fmla="*/ 905952 w 11496675"/>
              <a:gd name="connsiteY74" fmla="*/ 5873642 h 6858000"/>
              <a:gd name="connsiteX75" fmla="*/ 727281 w 11496675"/>
              <a:gd name="connsiteY75" fmla="*/ 6139754 h 6858000"/>
              <a:gd name="connsiteX76" fmla="*/ 789868 w 11496675"/>
              <a:gd name="connsiteY76" fmla="*/ 6340697 h 6858000"/>
              <a:gd name="connsiteX77" fmla="*/ 990857 w 11496675"/>
              <a:gd name="connsiteY77" fmla="*/ 6014314 h 6858000"/>
              <a:gd name="connsiteX78" fmla="*/ 905952 w 11496675"/>
              <a:gd name="connsiteY78" fmla="*/ 5873642 h 6858000"/>
              <a:gd name="connsiteX79" fmla="*/ 2386663 w 11496675"/>
              <a:gd name="connsiteY79" fmla="*/ 5845751 h 6858000"/>
              <a:gd name="connsiteX80" fmla="*/ 2386663 w 11496675"/>
              <a:gd name="connsiteY80" fmla="*/ 6296937 h 6858000"/>
              <a:gd name="connsiteX81" fmla="*/ 2546698 w 11496675"/>
              <a:gd name="connsiteY81" fmla="*/ 6296937 h 6858000"/>
              <a:gd name="connsiteX82" fmla="*/ 2619279 w 11496675"/>
              <a:gd name="connsiteY82" fmla="*/ 6286755 h 6858000"/>
              <a:gd name="connsiteX83" fmla="*/ 2709874 w 11496675"/>
              <a:gd name="connsiteY83" fmla="*/ 6165324 h 6858000"/>
              <a:gd name="connsiteX84" fmla="*/ 2639953 w 11496675"/>
              <a:gd name="connsiteY84" fmla="*/ 6055789 h 6858000"/>
              <a:gd name="connsiteX85" fmla="*/ 2683397 w 11496675"/>
              <a:gd name="connsiteY85" fmla="*/ 5967057 h 6858000"/>
              <a:gd name="connsiteX86" fmla="*/ 2593325 w 11496675"/>
              <a:gd name="connsiteY86" fmla="*/ 5851772 h 6858000"/>
              <a:gd name="connsiteX87" fmla="*/ 2529563 w 11496675"/>
              <a:gd name="connsiteY87" fmla="*/ 5845751 h 6858000"/>
              <a:gd name="connsiteX88" fmla="*/ 1893510 w 11496675"/>
              <a:gd name="connsiteY88" fmla="*/ 5845751 h 6858000"/>
              <a:gd name="connsiteX89" fmla="*/ 1893510 w 11496675"/>
              <a:gd name="connsiteY89" fmla="*/ 6296937 h 6858000"/>
              <a:gd name="connsiteX90" fmla="*/ 1971726 w 11496675"/>
              <a:gd name="connsiteY90" fmla="*/ 6296937 h 6858000"/>
              <a:gd name="connsiteX91" fmla="*/ 1971726 w 11496675"/>
              <a:gd name="connsiteY91" fmla="*/ 5845751 h 6858000"/>
              <a:gd name="connsiteX92" fmla="*/ 1248261 w 11496675"/>
              <a:gd name="connsiteY92" fmla="*/ 5845730 h 6858000"/>
              <a:gd name="connsiteX93" fmla="*/ 1063781 w 11496675"/>
              <a:gd name="connsiteY93" fmla="*/ 6296937 h 6858000"/>
              <a:gd name="connsiteX94" fmla="*/ 1139043 w 11496675"/>
              <a:gd name="connsiteY94" fmla="*/ 6296937 h 6858000"/>
              <a:gd name="connsiteX95" fmla="*/ 1362610 w 11496675"/>
              <a:gd name="connsiteY95" fmla="*/ 6146402 h 6858000"/>
              <a:gd name="connsiteX96" fmla="*/ 1419167 w 11496675"/>
              <a:gd name="connsiteY96" fmla="*/ 6296937 h 6858000"/>
              <a:gd name="connsiteX97" fmla="*/ 1504525 w 11496675"/>
              <a:gd name="connsiteY97" fmla="*/ 6296937 h 6858000"/>
              <a:gd name="connsiteX98" fmla="*/ 1433075 w 11496675"/>
              <a:gd name="connsiteY98" fmla="*/ 6122128 h 6858000"/>
              <a:gd name="connsiteX99" fmla="*/ 1524530 w 11496675"/>
              <a:gd name="connsiteY99" fmla="*/ 6102580 h 6858000"/>
              <a:gd name="connsiteX100" fmla="*/ 1524530 w 11496675"/>
              <a:gd name="connsiteY100" fmla="*/ 6296874 h 6858000"/>
              <a:gd name="connsiteX101" fmla="*/ 1563365 w 11496675"/>
              <a:gd name="connsiteY101" fmla="*/ 6296874 h 6858000"/>
              <a:gd name="connsiteX102" fmla="*/ 1699772 w 11496675"/>
              <a:gd name="connsiteY102" fmla="*/ 6296874 h 6858000"/>
              <a:gd name="connsiteX103" fmla="*/ 1847866 w 11496675"/>
              <a:gd name="connsiteY103" fmla="*/ 6165156 h 6858000"/>
              <a:gd name="connsiteX104" fmla="*/ 1777150 w 11496675"/>
              <a:gd name="connsiteY104" fmla="*/ 6056416 h 6858000"/>
              <a:gd name="connsiteX105" fmla="*/ 1821264 w 11496675"/>
              <a:gd name="connsiteY105" fmla="*/ 5967057 h 6858000"/>
              <a:gd name="connsiteX106" fmla="*/ 1731192 w 11496675"/>
              <a:gd name="connsiteY106" fmla="*/ 5851772 h 6858000"/>
              <a:gd name="connsiteX107" fmla="*/ 1667430 w 11496675"/>
              <a:gd name="connsiteY107" fmla="*/ 5845751 h 6858000"/>
              <a:gd name="connsiteX108" fmla="*/ 1524530 w 11496675"/>
              <a:gd name="connsiteY108" fmla="*/ 5845751 h 6858000"/>
              <a:gd name="connsiteX109" fmla="*/ 1524530 w 11496675"/>
              <a:gd name="connsiteY109" fmla="*/ 6036136 h 6858000"/>
              <a:gd name="connsiteX110" fmla="*/ 1409322 w 11496675"/>
              <a:gd name="connsiteY110" fmla="*/ 6063880 h 6858000"/>
              <a:gd name="connsiteX111" fmla="*/ 1320046 w 11496675"/>
              <a:gd name="connsiteY111" fmla="*/ 5845730 h 6858000"/>
              <a:gd name="connsiteX112" fmla="*/ 719325 w 11496675"/>
              <a:gd name="connsiteY112" fmla="*/ 5806530 h 6858000"/>
              <a:gd name="connsiteX113" fmla="*/ 459807 w 11496675"/>
              <a:gd name="connsiteY113" fmla="*/ 6030125 h 6858000"/>
              <a:gd name="connsiteX114" fmla="*/ 456677 w 11496675"/>
              <a:gd name="connsiteY114" fmla="*/ 6053928 h 6858000"/>
              <a:gd name="connsiteX115" fmla="*/ 521862 w 11496675"/>
              <a:gd name="connsiteY115" fmla="*/ 6055810 h 6858000"/>
              <a:gd name="connsiteX116" fmla="*/ 774117 w 11496675"/>
              <a:gd name="connsiteY116" fmla="*/ 5810606 h 6858000"/>
              <a:gd name="connsiteX117" fmla="*/ 719325 w 11496675"/>
              <a:gd name="connsiteY117" fmla="*/ 5806530 h 6858000"/>
              <a:gd name="connsiteX118" fmla="*/ 0 w 11496675"/>
              <a:gd name="connsiteY118" fmla="*/ 0 h 6858000"/>
              <a:gd name="connsiteX119" fmla="*/ 11496675 w 11496675"/>
              <a:gd name="connsiteY119" fmla="*/ 0 h 6858000"/>
              <a:gd name="connsiteX120" fmla="*/ 11496675 w 11496675"/>
              <a:gd name="connsiteY120" fmla="*/ 6858000 h 6858000"/>
              <a:gd name="connsiteX121" fmla="*/ 0 w 11496675"/>
              <a:gd name="connsiteY1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1496675" h="6858000">
                <a:moveTo>
                  <a:pt x="460301" y="6126917"/>
                </a:moveTo>
                <a:cubicBezTo>
                  <a:pt x="481391" y="6239870"/>
                  <a:pt x="571632" y="6327222"/>
                  <a:pt x="685389" y="6344795"/>
                </a:cubicBezTo>
                <a:cubicBezTo>
                  <a:pt x="682477" y="6261311"/>
                  <a:pt x="614695" y="6177220"/>
                  <a:pt x="512080" y="6140507"/>
                </a:cubicBezTo>
                <a:cubicBezTo>
                  <a:pt x="495250" y="6134479"/>
                  <a:pt x="477924" y="6129932"/>
                  <a:pt x="460301" y="6126917"/>
                </a:cubicBezTo>
                <a:close/>
                <a:moveTo>
                  <a:pt x="2464041" y="6098900"/>
                </a:moveTo>
                <a:lnTo>
                  <a:pt x="2557192" y="6098900"/>
                </a:lnTo>
                <a:cubicBezTo>
                  <a:pt x="2565466" y="6098854"/>
                  <a:pt x="2573719" y="6099640"/>
                  <a:pt x="2581846" y="6101242"/>
                </a:cubicBezTo>
                <a:cubicBezTo>
                  <a:pt x="2618462" y="6109354"/>
                  <a:pt x="2632496" y="6138186"/>
                  <a:pt x="2632496" y="6162417"/>
                </a:cubicBezTo>
                <a:cubicBezTo>
                  <a:pt x="2632496" y="6194469"/>
                  <a:pt x="2611863" y="6216213"/>
                  <a:pt x="2581260" y="6223468"/>
                </a:cubicBezTo>
                <a:lnTo>
                  <a:pt x="2581302" y="6223468"/>
                </a:lnTo>
                <a:cubicBezTo>
                  <a:pt x="2571205" y="6225333"/>
                  <a:pt x="2560941" y="6226223"/>
                  <a:pt x="2550677" y="6226123"/>
                </a:cubicBezTo>
                <a:lnTo>
                  <a:pt x="2464041" y="6226123"/>
                </a:lnTo>
                <a:close/>
                <a:moveTo>
                  <a:pt x="1636491" y="6095743"/>
                </a:moveTo>
                <a:cubicBezTo>
                  <a:pt x="1721158" y="6096830"/>
                  <a:pt x="1770405" y="6121438"/>
                  <a:pt x="1770405" y="6165198"/>
                </a:cubicBezTo>
                <a:cubicBezTo>
                  <a:pt x="1770405" y="6204588"/>
                  <a:pt x="1735130" y="6226060"/>
                  <a:pt x="1695017" y="6226060"/>
                </a:cubicBezTo>
                <a:lnTo>
                  <a:pt x="1695017" y="6225997"/>
                </a:lnTo>
                <a:lnTo>
                  <a:pt x="1601928" y="6225997"/>
                </a:lnTo>
                <a:lnTo>
                  <a:pt x="1601928" y="6096370"/>
                </a:lnTo>
                <a:cubicBezTo>
                  <a:pt x="1613722" y="6095869"/>
                  <a:pt x="1625305" y="6095618"/>
                  <a:pt x="1636491" y="6095743"/>
                </a:cubicBezTo>
                <a:close/>
                <a:moveTo>
                  <a:pt x="2900995" y="6034860"/>
                </a:moveTo>
                <a:cubicBezTo>
                  <a:pt x="2948858" y="6034860"/>
                  <a:pt x="2985243" y="6066493"/>
                  <a:pt x="2990605" y="6111361"/>
                </a:cubicBezTo>
                <a:lnTo>
                  <a:pt x="2812536" y="6111361"/>
                </a:lnTo>
                <a:cubicBezTo>
                  <a:pt x="2817940" y="6065197"/>
                  <a:pt x="2855435" y="6034860"/>
                  <a:pt x="2900995" y="6034860"/>
                </a:cubicBezTo>
                <a:close/>
                <a:moveTo>
                  <a:pt x="3058976" y="5976235"/>
                </a:moveTo>
                <a:lnTo>
                  <a:pt x="3186585" y="6296937"/>
                </a:lnTo>
                <a:lnTo>
                  <a:pt x="3256107" y="6296937"/>
                </a:lnTo>
                <a:lnTo>
                  <a:pt x="3383465" y="5976235"/>
                </a:lnTo>
                <a:lnTo>
                  <a:pt x="3302652" y="5976235"/>
                </a:lnTo>
                <a:lnTo>
                  <a:pt x="3222216" y="6205340"/>
                </a:lnTo>
                <a:lnTo>
                  <a:pt x="3140585" y="5976235"/>
                </a:lnTo>
                <a:close/>
                <a:moveTo>
                  <a:pt x="2900303" y="5969377"/>
                </a:moveTo>
                <a:cubicBezTo>
                  <a:pt x="2808849" y="5969377"/>
                  <a:pt x="2737776" y="6042825"/>
                  <a:pt x="2737776" y="6138833"/>
                </a:cubicBezTo>
                <a:cubicBezTo>
                  <a:pt x="2737776" y="6227439"/>
                  <a:pt x="2807760" y="6303794"/>
                  <a:pt x="2903508" y="6303794"/>
                </a:cubicBezTo>
                <a:cubicBezTo>
                  <a:pt x="2973450" y="6303794"/>
                  <a:pt x="3027619" y="6263631"/>
                  <a:pt x="3055289" y="6198545"/>
                </a:cubicBezTo>
                <a:lnTo>
                  <a:pt x="2978687" y="6198545"/>
                </a:lnTo>
                <a:cubicBezTo>
                  <a:pt x="2961426" y="6224324"/>
                  <a:pt x="2938301" y="6238270"/>
                  <a:pt x="2904786" y="6238270"/>
                </a:cubicBezTo>
                <a:cubicBezTo>
                  <a:pt x="2854869" y="6238270"/>
                  <a:pt x="2822213" y="6208999"/>
                  <a:pt x="2812305" y="6163880"/>
                </a:cubicBezTo>
                <a:lnTo>
                  <a:pt x="3063061" y="6163880"/>
                </a:lnTo>
                <a:cubicBezTo>
                  <a:pt x="3064820" y="6153826"/>
                  <a:pt x="3065595" y="6143623"/>
                  <a:pt x="3065344" y="6133418"/>
                </a:cubicBezTo>
                <a:cubicBezTo>
                  <a:pt x="3064569" y="6047237"/>
                  <a:pt x="2998314" y="5969377"/>
                  <a:pt x="2900303" y="5969377"/>
                </a:cubicBezTo>
                <a:close/>
                <a:moveTo>
                  <a:pt x="2207839" y="5969377"/>
                </a:moveTo>
                <a:cubicBezTo>
                  <a:pt x="2168899" y="5969377"/>
                  <a:pt x="2131635" y="5984012"/>
                  <a:pt x="2107587" y="6023172"/>
                </a:cubicBezTo>
                <a:lnTo>
                  <a:pt x="2107587" y="5976235"/>
                </a:lnTo>
                <a:lnTo>
                  <a:pt x="2037122" y="5976235"/>
                </a:lnTo>
                <a:lnTo>
                  <a:pt x="2037122" y="6296936"/>
                </a:lnTo>
                <a:lnTo>
                  <a:pt x="2112531" y="6296936"/>
                </a:lnTo>
                <a:lnTo>
                  <a:pt x="2112531" y="6127062"/>
                </a:lnTo>
                <a:cubicBezTo>
                  <a:pt x="2112338" y="6115195"/>
                  <a:pt x="2113526" y="6103345"/>
                  <a:pt x="2116071" y="6091749"/>
                </a:cubicBezTo>
                <a:cubicBezTo>
                  <a:pt x="2124743" y="6057168"/>
                  <a:pt x="2149439" y="6037076"/>
                  <a:pt x="2185782" y="6037076"/>
                </a:cubicBezTo>
                <a:cubicBezTo>
                  <a:pt x="2223340" y="6037076"/>
                  <a:pt x="2244978" y="6055893"/>
                  <a:pt x="2251933" y="6093338"/>
                </a:cubicBezTo>
                <a:cubicBezTo>
                  <a:pt x="2253699" y="6104469"/>
                  <a:pt x="2254526" y="6115730"/>
                  <a:pt x="2254404" y="6126999"/>
                </a:cubicBezTo>
                <a:lnTo>
                  <a:pt x="2254404" y="6296936"/>
                </a:lnTo>
                <a:lnTo>
                  <a:pt x="2329813" y="6296936"/>
                </a:lnTo>
                <a:lnTo>
                  <a:pt x="2329813" y="6107158"/>
                </a:lnTo>
                <a:cubicBezTo>
                  <a:pt x="2329813" y="6085853"/>
                  <a:pt x="2327719" y="6066618"/>
                  <a:pt x="2322691" y="6050185"/>
                </a:cubicBezTo>
                <a:cubicBezTo>
                  <a:pt x="2306290" y="5995679"/>
                  <a:pt x="2262553" y="5969377"/>
                  <a:pt x="2207839" y="5969377"/>
                </a:cubicBezTo>
                <a:close/>
                <a:moveTo>
                  <a:pt x="1283347" y="5934943"/>
                </a:moveTo>
                <a:lnTo>
                  <a:pt x="1341768" y="6090516"/>
                </a:lnTo>
                <a:cubicBezTo>
                  <a:pt x="1281210" y="6118219"/>
                  <a:pt x="1227335" y="6153720"/>
                  <a:pt x="1182801" y="6194448"/>
                </a:cubicBezTo>
                <a:lnTo>
                  <a:pt x="1182801" y="6194406"/>
                </a:lnTo>
                <a:close/>
                <a:moveTo>
                  <a:pt x="2463999" y="5916565"/>
                </a:moveTo>
                <a:lnTo>
                  <a:pt x="2533459" y="5916565"/>
                </a:lnTo>
                <a:cubicBezTo>
                  <a:pt x="2549295" y="5916565"/>
                  <a:pt x="2566136" y="5918656"/>
                  <a:pt x="2576945" y="5923715"/>
                </a:cubicBezTo>
                <a:cubicBezTo>
                  <a:pt x="2595797" y="5932392"/>
                  <a:pt x="2605957" y="5948595"/>
                  <a:pt x="2605957" y="5972932"/>
                </a:cubicBezTo>
                <a:cubicBezTo>
                  <a:pt x="2605957" y="5997268"/>
                  <a:pt x="2595127" y="6014120"/>
                  <a:pt x="2575918" y="6022755"/>
                </a:cubicBezTo>
                <a:cubicBezTo>
                  <a:pt x="2566304" y="6027062"/>
                  <a:pt x="2552269" y="6029341"/>
                  <a:pt x="2536119" y="6029341"/>
                </a:cubicBezTo>
                <a:lnTo>
                  <a:pt x="2464041" y="6029341"/>
                </a:lnTo>
                <a:close/>
                <a:moveTo>
                  <a:pt x="1601928" y="5916565"/>
                </a:moveTo>
                <a:lnTo>
                  <a:pt x="1668309" y="5916565"/>
                </a:lnTo>
                <a:cubicBezTo>
                  <a:pt x="1683475" y="5916565"/>
                  <a:pt x="1696190" y="5918279"/>
                  <a:pt x="1704904" y="5921123"/>
                </a:cubicBezTo>
                <a:cubicBezTo>
                  <a:pt x="1730040" y="5929339"/>
                  <a:pt x="1743886" y="5948303"/>
                  <a:pt x="1743886" y="5978870"/>
                </a:cubicBezTo>
                <a:cubicBezTo>
                  <a:pt x="1743886" y="6007178"/>
                  <a:pt x="1729600" y="6025786"/>
                  <a:pt x="1706935" y="6034337"/>
                </a:cubicBezTo>
                <a:cubicBezTo>
                  <a:pt x="1682943" y="6030424"/>
                  <a:pt x="1658665" y="6028521"/>
                  <a:pt x="1634354" y="6028651"/>
                </a:cubicBezTo>
                <a:cubicBezTo>
                  <a:pt x="1624258" y="6028651"/>
                  <a:pt x="1613156" y="6028797"/>
                  <a:pt x="1601928" y="6029152"/>
                </a:cubicBezTo>
                <a:close/>
                <a:moveTo>
                  <a:pt x="905952" y="5873642"/>
                </a:moveTo>
                <a:cubicBezTo>
                  <a:pt x="801401" y="5922221"/>
                  <a:pt x="732553" y="6024762"/>
                  <a:pt x="727281" y="6139754"/>
                </a:cubicBezTo>
                <a:cubicBezTo>
                  <a:pt x="723846" y="6211994"/>
                  <a:pt x="746003" y="6283136"/>
                  <a:pt x="789868" y="6340697"/>
                </a:cubicBezTo>
                <a:cubicBezTo>
                  <a:pt x="935664" y="6305967"/>
                  <a:pt x="1025649" y="6159842"/>
                  <a:pt x="990857" y="6014314"/>
                </a:cubicBezTo>
                <a:cubicBezTo>
                  <a:pt x="977820" y="5959784"/>
                  <a:pt x="948154" y="5910634"/>
                  <a:pt x="905952" y="5873642"/>
                </a:cubicBezTo>
                <a:close/>
                <a:moveTo>
                  <a:pt x="2386663" y="5845751"/>
                </a:moveTo>
                <a:lnTo>
                  <a:pt x="2386663" y="6296937"/>
                </a:lnTo>
                <a:lnTo>
                  <a:pt x="2546698" y="6296937"/>
                </a:lnTo>
                <a:cubicBezTo>
                  <a:pt x="2577887" y="6296937"/>
                  <a:pt x="2598793" y="6293968"/>
                  <a:pt x="2619279" y="6286755"/>
                </a:cubicBezTo>
                <a:cubicBezTo>
                  <a:pt x="2672903" y="6267938"/>
                  <a:pt x="2709874" y="6226311"/>
                  <a:pt x="2709874" y="6165324"/>
                </a:cubicBezTo>
                <a:cubicBezTo>
                  <a:pt x="2709874" y="6114414"/>
                  <a:pt x="2685638" y="6078223"/>
                  <a:pt x="2639953" y="6055789"/>
                </a:cubicBezTo>
                <a:cubicBezTo>
                  <a:pt x="2670536" y="6032351"/>
                  <a:pt x="2683397" y="6005464"/>
                  <a:pt x="2683397" y="5967057"/>
                </a:cubicBezTo>
                <a:cubicBezTo>
                  <a:pt x="2683397" y="5909561"/>
                  <a:pt x="2647787" y="5866470"/>
                  <a:pt x="2593325" y="5851772"/>
                </a:cubicBezTo>
                <a:cubicBezTo>
                  <a:pt x="2579207" y="5847988"/>
                  <a:pt x="2556270" y="5845751"/>
                  <a:pt x="2529563" y="5845751"/>
                </a:cubicBezTo>
                <a:close/>
                <a:moveTo>
                  <a:pt x="1893510" y="5845751"/>
                </a:moveTo>
                <a:lnTo>
                  <a:pt x="1893510" y="6296937"/>
                </a:lnTo>
                <a:lnTo>
                  <a:pt x="1971726" y="6296937"/>
                </a:lnTo>
                <a:lnTo>
                  <a:pt x="1971726" y="5845751"/>
                </a:lnTo>
                <a:close/>
                <a:moveTo>
                  <a:pt x="1248261" y="5845730"/>
                </a:moveTo>
                <a:lnTo>
                  <a:pt x="1063781" y="6296937"/>
                </a:lnTo>
                <a:lnTo>
                  <a:pt x="1139043" y="6296937"/>
                </a:lnTo>
                <a:cubicBezTo>
                  <a:pt x="1204105" y="6228297"/>
                  <a:pt x="1281755" y="6179039"/>
                  <a:pt x="1362610" y="6146402"/>
                </a:cubicBezTo>
                <a:lnTo>
                  <a:pt x="1419167" y="6296937"/>
                </a:lnTo>
                <a:lnTo>
                  <a:pt x="1504525" y="6296937"/>
                </a:lnTo>
                <a:lnTo>
                  <a:pt x="1433075" y="6122128"/>
                </a:lnTo>
                <a:cubicBezTo>
                  <a:pt x="1463094" y="6113607"/>
                  <a:pt x="1493645" y="6107077"/>
                  <a:pt x="1524530" y="6102580"/>
                </a:cubicBezTo>
                <a:lnTo>
                  <a:pt x="1524530" y="6296874"/>
                </a:lnTo>
                <a:lnTo>
                  <a:pt x="1563365" y="6296874"/>
                </a:lnTo>
                <a:lnTo>
                  <a:pt x="1699772" y="6296874"/>
                </a:lnTo>
                <a:cubicBezTo>
                  <a:pt x="1796127" y="6296874"/>
                  <a:pt x="1847866" y="6240424"/>
                  <a:pt x="1847866" y="6165156"/>
                </a:cubicBezTo>
                <a:cubicBezTo>
                  <a:pt x="1847866" y="6119703"/>
                  <a:pt x="1825223" y="6080920"/>
                  <a:pt x="1777150" y="6056416"/>
                </a:cubicBezTo>
                <a:cubicBezTo>
                  <a:pt x="1809743" y="6032623"/>
                  <a:pt x="1821264" y="5997059"/>
                  <a:pt x="1821264" y="5967057"/>
                </a:cubicBezTo>
                <a:cubicBezTo>
                  <a:pt x="1821264" y="5909561"/>
                  <a:pt x="1785654" y="5866470"/>
                  <a:pt x="1731192" y="5851772"/>
                </a:cubicBezTo>
                <a:cubicBezTo>
                  <a:pt x="1717074" y="5847988"/>
                  <a:pt x="1694137" y="5845751"/>
                  <a:pt x="1667430" y="5845751"/>
                </a:cubicBezTo>
                <a:lnTo>
                  <a:pt x="1524530" y="5845751"/>
                </a:lnTo>
                <a:lnTo>
                  <a:pt x="1524530" y="6036136"/>
                </a:lnTo>
                <a:cubicBezTo>
                  <a:pt x="1485399" y="6042059"/>
                  <a:pt x="1446854" y="6051342"/>
                  <a:pt x="1409322" y="6063880"/>
                </a:cubicBezTo>
                <a:lnTo>
                  <a:pt x="1320046" y="5845730"/>
                </a:lnTo>
                <a:close/>
                <a:moveTo>
                  <a:pt x="719325" y="5806530"/>
                </a:moveTo>
                <a:cubicBezTo>
                  <a:pt x="593204" y="5809926"/>
                  <a:pt x="482613" y="5901278"/>
                  <a:pt x="459807" y="6030125"/>
                </a:cubicBezTo>
                <a:cubicBezTo>
                  <a:pt x="458412" y="6038009"/>
                  <a:pt x="457367" y="6045952"/>
                  <a:pt x="456677" y="6053928"/>
                </a:cubicBezTo>
                <a:cubicBezTo>
                  <a:pt x="478260" y="6057066"/>
                  <a:pt x="500133" y="6057698"/>
                  <a:pt x="521862" y="6055810"/>
                </a:cubicBezTo>
                <a:cubicBezTo>
                  <a:pt x="657300" y="6044018"/>
                  <a:pt x="761549" y="5938686"/>
                  <a:pt x="774117" y="5810606"/>
                </a:cubicBezTo>
                <a:cubicBezTo>
                  <a:pt x="755677" y="5807354"/>
                  <a:pt x="737342" y="5806044"/>
                  <a:pt x="719325" y="5806530"/>
                </a:cubicBezTo>
                <a:close/>
                <a:moveTo>
                  <a:pt x="0" y="0"/>
                </a:moveTo>
                <a:lnTo>
                  <a:pt x="11496675" y="0"/>
                </a:lnTo>
                <a:lnTo>
                  <a:pt x="11496675" y="6858000"/>
                </a:lnTo>
                <a:lnTo>
                  <a:pt x="0" y="68580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marR="0" indent="0" algn="ctr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                                                                                                                                                                                        Insert background image here</a:t>
            </a:r>
          </a:p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353236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7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</p:spTree>
    <p:extLst>
      <p:ext uri="{BB962C8B-B14F-4D97-AF65-F5344CB8AC3E}">
        <p14:creationId xmlns:p14="http://schemas.microsoft.com/office/powerpoint/2010/main" val="16519059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65AD1510-2F3F-0E4C-9DC7-E18C56806C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" y="228600"/>
            <a:ext cx="12191999" cy="6629400"/>
          </a:xfrm>
          <a:custGeom>
            <a:avLst/>
            <a:gdLst>
              <a:gd name="connsiteX0" fmla="*/ 460821 w 12191999"/>
              <a:gd name="connsiteY0" fmla="*/ 5898317 h 6629400"/>
              <a:gd name="connsiteX1" fmla="*/ 685915 w 12191999"/>
              <a:gd name="connsiteY1" fmla="*/ 6116195 h 6629400"/>
              <a:gd name="connsiteX2" fmla="*/ 512601 w 12191999"/>
              <a:gd name="connsiteY2" fmla="*/ 5911907 h 6629400"/>
              <a:gd name="connsiteX3" fmla="*/ 460821 w 12191999"/>
              <a:gd name="connsiteY3" fmla="*/ 5898317 h 6629400"/>
              <a:gd name="connsiteX4" fmla="*/ 2464549 w 12191999"/>
              <a:gd name="connsiteY4" fmla="*/ 5870301 h 6629400"/>
              <a:gd name="connsiteX5" fmla="*/ 2557701 w 12191999"/>
              <a:gd name="connsiteY5" fmla="*/ 5870301 h 6629400"/>
              <a:gd name="connsiteX6" fmla="*/ 2582355 w 12191999"/>
              <a:gd name="connsiteY6" fmla="*/ 5872643 h 6629400"/>
              <a:gd name="connsiteX7" fmla="*/ 2633004 w 12191999"/>
              <a:gd name="connsiteY7" fmla="*/ 5933818 h 6629400"/>
              <a:gd name="connsiteX8" fmla="*/ 2581769 w 12191999"/>
              <a:gd name="connsiteY8" fmla="*/ 5994869 h 6629400"/>
              <a:gd name="connsiteX9" fmla="*/ 2581810 w 12191999"/>
              <a:gd name="connsiteY9" fmla="*/ 5994869 h 6629400"/>
              <a:gd name="connsiteX10" fmla="*/ 2551185 w 12191999"/>
              <a:gd name="connsiteY10" fmla="*/ 5997524 h 6629400"/>
              <a:gd name="connsiteX11" fmla="*/ 2464549 w 12191999"/>
              <a:gd name="connsiteY11" fmla="*/ 5997524 h 6629400"/>
              <a:gd name="connsiteX12" fmla="*/ 1637003 w 12191999"/>
              <a:gd name="connsiteY12" fmla="*/ 5867144 h 6629400"/>
              <a:gd name="connsiteX13" fmla="*/ 1770916 w 12191999"/>
              <a:gd name="connsiteY13" fmla="*/ 5936599 h 6629400"/>
              <a:gd name="connsiteX14" fmla="*/ 1695528 w 12191999"/>
              <a:gd name="connsiteY14" fmla="*/ 5997461 h 6629400"/>
              <a:gd name="connsiteX15" fmla="*/ 1695528 w 12191999"/>
              <a:gd name="connsiteY15" fmla="*/ 5997398 h 6629400"/>
              <a:gd name="connsiteX16" fmla="*/ 1602441 w 12191999"/>
              <a:gd name="connsiteY16" fmla="*/ 5997398 h 6629400"/>
              <a:gd name="connsiteX17" fmla="*/ 1602441 w 12191999"/>
              <a:gd name="connsiteY17" fmla="*/ 5867771 h 6629400"/>
              <a:gd name="connsiteX18" fmla="*/ 1637003 w 12191999"/>
              <a:gd name="connsiteY18" fmla="*/ 5867144 h 6629400"/>
              <a:gd name="connsiteX19" fmla="*/ 2901500 w 12191999"/>
              <a:gd name="connsiteY19" fmla="*/ 5806261 h 6629400"/>
              <a:gd name="connsiteX20" fmla="*/ 2991111 w 12191999"/>
              <a:gd name="connsiteY20" fmla="*/ 5882762 h 6629400"/>
              <a:gd name="connsiteX21" fmla="*/ 2813042 w 12191999"/>
              <a:gd name="connsiteY21" fmla="*/ 5882762 h 6629400"/>
              <a:gd name="connsiteX22" fmla="*/ 2901500 w 12191999"/>
              <a:gd name="connsiteY22" fmla="*/ 5806261 h 6629400"/>
              <a:gd name="connsiteX23" fmla="*/ 3059481 w 12191999"/>
              <a:gd name="connsiteY23" fmla="*/ 5747636 h 6629400"/>
              <a:gd name="connsiteX24" fmla="*/ 3187089 w 12191999"/>
              <a:gd name="connsiteY24" fmla="*/ 6068338 h 6629400"/>
              <a:gd name="connsiteX25" fmla="*/ 3256611 w 12191999"/>
              <a:gd name="connsiteY25" fmla="*/ 6068338 h 6629400"/>
              <a:gd name="connsiteX26" fmla="*/ 3383967 w 12191999"/>
              <a:gd name="connsiteY26" fmla="*/ 5747636 h 6629400"/>
              <a:gd name="connsiteX27" fmla="*/ 3303154 w 12191999"/>
              <a:gd name="connsiteY27" fmla="*/ 5747636 h 6629400"/>
              <a:gd name="connsiteX28" fmla="*/ 3222719 w 12191999"/>
              <a:gd name="connsiteY28" fmla="*/ 5976741 h 6629400"/>
              <a:gd name="connsiteX29" fmla="*/ 3141090 w 12191999"/>
              <a:gd name="connsiteY29" fmla="*/ 5747636 h 6629400"/>
              <a:gd name="connsiteX30" fmla="*/ 2900809 w 12191999"/>
              <a:gd name="connsiteY30" fmla="*/ 5740778 h 6629400"/>
              <a:gd name="connsiteX31" fmla="*/ 2738282 w 12191999"/>
              <a:gd name="connsiteY31" fmla="*/ 5910234 h 6629400"/>
              <a:gd name="connsiteX32" fmla="*/ 2904013 w 12191999"/>
              <a:gd name="connsiteY32" fmla="*/ 6075195 h 6629400"/>
              <a:gd name="connsiteX33" fmla="*/ 3055794 w 12191999"/>
              <a:gd name="connsiteY33" fmla="*/ 5969946 h 6629400"/>
              <a:gd name="connsiteX34" fmla="*/ 2979192 w 12191999"/>
              <a:gd name="connsiteY34" fmla="*/ 5969946 h 6629400"/>
              <a:gd name="connsiteX35" fmla="*/ 2905292 w 12191999"/>
              <a:gd name="connsiteY35" fmla="*/ 6009671 h 6629400"/>
              <a:gd name="connsiteX36" fmla="*/ 2812812 w 12191999"/>
              <a:gd name="connsiteY36" fmla="*/ 5935281 h 6629400"/>
              <a:gd name="connsiteX37" fmla="*/ 3063565 w 12191999"/>
              <a:gd name="connsiteY37" fmla="*/ 5935281 h 6629400"/>
              <a:gd name="connsiteX38" fmla="*/ 3065848 w 12191999"/>
              <a:gd name="connsiteY38" fmla="*/ 5904819 h 6629400"/>
              <a:gd name="connsiteX39" fmla="*/ 2900809 w 12191999"/>
              <a:gd name="connsiteY39" fmla="*/ 5740778 h 6629400"/>
              <a:gd name="connsiteX40" fmla="*/ 2208349 w 12191999"/>
              <a:gd name="connsiteY40" fmla="*/ 5740778 h 6629400"/>
              <a:gd name="connsiteX41" fmla="*/ 2108099 w 12191999"/>
              <a:gd name="connsiteY41" fmla="*/ 5794573 h 6629400"/>
              <a:gd name="connsiteX42" fmla="*/ 2108099 w 12191999"/>
              <a:gd name="connsiteY42" fmla="*/ 5747636 h 6629400"/>
              <a:gd name="connsiteX43" fmla="*/ 2037632 w 12191999"/>
              <a:gd name="connsiteY43" fmla="*/ 5747636 h 6629400"/>
              <a:gd name="connsiteX44" fmla="*/ 2037632 w 12191999"/>
              <a:gd name="connsiteY44" fmla="*/ 6068337 h 6629400"/>
              <a:gd name="connsiteX45" fmla="*/ 2113041 w 12191999"/>
              <a:gd name="connsiteY45" fmla="*/ 6068337 h 6629400"/>
              <a:gd name="connsiteX46" fmla="*/ 2113041 w 12191999"/>
              <a:gd name="connsiteY46" fmla="*/ 5898463 h 6629400"/>
              <a:gd name="connsiteX47" fmla="*/ 2116581 w 12191999"/>
              <a:gd name="connsiteY47" fmla="*/ 5863150 h 6629400"/>
              <a:gd name="connsiteX48" fmla="*/ 2186293 w 12191999"/>
              <a:gd name="connsiteY48" fmla="*/ 5808477 h 6629400"/>
              <a:gd name="connsiteX49" fmla="*/ 2252442 w 12191999"/>
              <a:gd name="connsiteY49" fmla="*/ 5864739 h 6629400"/>
              <a:gd name="connsiteX50" fmla="*/ 2254915 w 12191999"/>
              <a:gd name="connsiteY50" fmla="*/ 5898400 h 6629400"/>
              <a:gd name="connsiteX51" fmla="*/ 2254915 w 12191999"/>
              <a:gd name="connsiteY51" fmla="*/ 6068337 h 6629400"/>
              <a:gd name="connsiteX52" fmla="*/ 2330323 w 12191999"/>
              <a:gd name="connsiteY52" fmla="*/ 6068337 h 6629400"/>
              <a:gd name="connsiteX53" fmla="*/ 2330323 w 12191999"/>
              <a:gd name="connsiteY53" fmla="*/ 5878559 h 6629400"/>
              <a:gd name="connsiteX54" fmla="*/ 2323200 w 12191999"/>
              <a:gd name="connsiteY54" fmla="*/ 5821586 h 6629400"/>
              <a:gd name="connsiteX55" fmla="*/ 2208349 w 12191999"/>
              <a:gd name="connsiteY55" fmla="*/ 5740778 h 6629400"/>
              <a:gd name="connsiteX56" fmla="*/ 1283861 w 12191999"/>
              <a:gd name="connsiteY56" fmla="*/ 5706344 h 6629400"/>
              <a:gd name="connsiteX57" fmla="*/ 1342282 w 12191999"/>
              <a:gd name="connsiteY57" fmla="*/ 5861917 h 6629400"/>
              <a:gd name="connsiteX58" fmla="*/ 1183317 w 12191999"/>
              <a:gd name="connsiteY58" fmla="*/ 5965849 h 6629400"/>
              <a:gd name="connsiteX59" fmla="*/ 1183317 w 12191999"/>
              <a:gd name="connsiteY59" fmla="*/ 5965807 h 6629400"/>
              <a:gd name="connsiteX60" fmla="*/ 2464508 w 12191999"/>
              <a:gd name="connsiteY60" fmla="*/ 5687966 h 6629400"/>
              <a:gd name="connsiteX61" fmla="*/ 2533967 w 12191999"/>
              <a:gd name="connsiteY61" fmla="*/ 5687966 h 6629400"/>
              <a:gd name="connsiteX62" fmla="*/ 2577453 w 12191999"/>
              <a:gd name="connsiteY62" fmla="*/ 5695116 h 6629400"/>
              <a:gd name="connsiteX63" fmla="*/ 2606465 w 12191999"/>
              <a:gd name="connsiteY63" fmla="*/ 5744333 h 6629400"/>
              <a:gd name="connsiteX64" fmla="*/ 2576426 w 12191999"/>
              <a:gd name="connsiteY64" fmla="*/ 5794156 h 6629400"/>
              <a:gd name="connsiteX65" fmla="*/ 2536627 w 12191999"/>
              <a:gd name="connsiteY65" fmla="*/ 5800742 h 6629400"/>
              <a:gd name="connsiteX66" fmla="*/ 2464549 w 12191999"/>
              <a:gd name="connsiteY66" fmla="*/ 5800742 h 6629400"/>
              <a:gd name="connsiteX67" fmla="*/ 1602441 w 12191999"/>
              <a:gd name="connsiteY67" fmla="*/ 5687966 h 6629400"/>
              <a:gd name="connsiteX68" fmla="*/ 1668821 w 12191999"/>
              <a:gd name="connsiteY68" fmla="*/ 5687966 h 6629400"/>
              <a:gd name="connsiteX69" fmla="*/ 1705415 w 12191999"/>
              <a:gd name="connsiteY69" fmla="*/ 5692524 h 6629400"/>
              <a:gd name="connsiteX70" fmla="*/ 1744397 w 12191999"/>
              <a:gd name="connsiteY70" fmla="*/ 5750271 h 6629400"/>
              <a:gd name="connsiteX71" fmla="*/ 1707447 w 12191999"/>
              <a:gd name="connsiteY71" fmla="*/ 5805738 h 6629400"/>
              <a:gd name="connsiteX72" fmla="*/ 1634866 w 12191999"/>
              <a:gd name="connsiteY72" fmla="*/ 5800052 h 6629400"/>
              <a:gd name="connsiteX73" fmla="*/ 1602441 w 12191999"/>
              <a:gd name="connsiteY73" fmla="*/ 5800553 h 6629400"/>
              <a:gd name="connsiteX74" fmla="*/ 906484 w 12191999"/>
              <a:gd name="connsiteY74" fmla="*/ 5645042 h 6629400"/>
              <a:gd name="connsiteX75" fmla="*/ 727808 w 12191999"/>
              <a:gd name="connsiteY75" fmla="*/ 5911154 h 6629400"/>
              <a:gd name="connsiteX76" fmla="*/ 790397 w 12191999"/>
              <a:gd name="connsiteY76" fmla="*/ 6112097 h 6629400"/>
              <a:gd name="connsiteX77" fmla="*/ 991392 w 12191999"/>
              <a:gd name="connsiteY77" fmla="*/ 5785714 h 6629400"/>
              <a:gd name="connsiteX78" fmla="*/ 906484 w 12191999"/>
              <a:gd name="connsiteY78" fmla="*/ 5645042 h 6629400"/>
              <a:gd name="connsiteX79" fmla="*/ 2387172 w 12191999"/>
              <a:gd name="connsiteY79" fmla="*/ 5617152 h 6629400"/>
              <a:gd name="connsiteX80" fmla="*/ 2387172 w 12191999"/>
              <a:gd name="connsiteY80" fmla="*/ 6068338 h 6629400"/>
              <a:gd name="connsiteX81" fmla="*/ 2547206 w 12191999"/>
              <a:gd name="connsiteY81" fmla="*/ 6068338 h 6629400"/>
              <a:gd name="connsiteX82" fmla="*/ 2619786 w 12191999"/>
              <a:gd name="connsiteY82" fmla="*/ 6058156 h 6629400"/>
              <a:gd name="connsiteX83" fmla="*/ 2710381 w 12191999"/>
              <a:gd name="connsiteY83" fmla="*/ 5936725 h 6629400"/>
              <a:gd name="connsiteX84" fmla="*/ 2640462 w 12191999"/>
              <a:gd name="connsiteY84" fmla="*/ 5827190 h 6629400"/>
              <a:gd name="connsiteX85" fmla="*/ 2683905 w 12191999"/>
              <a:gd name="connsiteY85" fmla="*/ 5738458 h 6629400"/>
              <a:gd name="connsiteX86" fmla="*/ 2593833 w 12191999"/>
              <a:gd name="connsiteY86" fmla="*/ 5623173 h 6629400"/>
              <a:gd name="connsiteX87" fmla="*/ 2530072 w 12191999"/>
              <a:gd name="connsiteY87" fmla="*/ 5617152 h 6629400"/>
              <a:gd name="connsiteX88" fmla="*/ 1894021 w 12191999"/>
              <a:gd name="connsiteY88" fmla="*/ 5617152 h 6629400"/>
              <a:gd name="connsiteX89" fmla="*/ 1894021 w 12191999"/>
              <a:gd name="connsiteY89" fmla="*/ 6068338 h 6629400"/>
              <a:gd name="connsiteX90" fmla="*/ 1972236 w 12191999"/>
              <a:gd name="connsiteY90" fmla="*/ 6068338 h 6629400"/>
              <a:gd name="connsiteX91" fmla="*/ 1972236 w 12191999"/>
              <a:gd name="connsiteY91" fmla="*/ 5617152 h 6629400"/>
              <a:gd name="connsiteX92" fmla="*/ 1248775 w 12191999"/>
              <a:gd name="connsiteY92" fmla="*/ 5617131 h 6629400"/>
              <a:gd name="connsiteX93" fmla="*/ 1064297 w 12191999"/>
              <a:gd name="connsiteY93" fmla="*/ 6068338 h 6629400"/>
              <a:gd name="connsiteX94" fmla="*/ 1139559 w 12191999"/>
              <a:gd name="connsiteY94" fmla="*/ 6068338 h 6629400"/>
              <a:gd name="connsiteX95" fmla="*/ 1363124 w 12191999"/>
              <a:gd name="connsiteY95" fmla="*/ 5917803 h 6629400"/>
              <a:gd name="connsiteX96" fmla="*/ 1419680 w 12191999"/>
              <a:gd name="connsiteY96" fmla="*/ 6068338 h 6629400"/>
              <a:gd name="connsiteX97" fmla="*/ 1505038 w 12191999"/>
              <a:gd name="connsiteY97" fmla="*/ 6068338 h 6629400"/>
              <a:gd name="connsiteX98" fmla="*/ 1433589 w 12191999"/>
              <a:gd name="connsiteY98" fmla="*/ 5893529 h 6629400"/>
              <a:gd name="connsiteX99" fmla="*/ 1525042 w 12191999"/>
              <a:gd name="connsiteY99" fmla="*/ 5873981 h 6629400"/>
              <a:gd name="connsiteX100" fmla="*/ 1525042 w 12191999"/>
              <a:gd name="connsiteY100" fmla="*/ 6068275 h 6629400"/>
              <a:gd name="connsiteX101" fmla="*/ 1563878 w 12191999"/>
              <a:gd name="connsiteY101" fmla="*/ 6068275 h 6629400"/>
              <a:gd name="connsiteX102" fmla="*/ 1700283 w 12191999"/>
              <a:gd name="connsiteY102" fmla="*/ 6068275 h 6629400"/>
              <a:gd name="connsiteX103" fmla="*/ 1848377 w 12191999"/>
              <a:gd name="connsiteY103" fmla="*/ 5936557 h 6629400"/>
              <a:gd name="connsiteX104" fmla="*/ 1777661 w 12191999"/>
              <a:gd name="connsiteY104" fmla="*/ 5827817 h 6629400"/>
              <a:gd name="connsiteX105" fmla="*/ 1821775 w 12191999"/>
              <a:gd name="connsiteY105" fmla="*/ 5738458 h 6629400"/>
              <a:gd name="connsiteX106" fmla="*/ 1731703 w 12191999"/>
              <a:gd name="connsiteY106" fmla="*/ 5623173 h 6629400"/>
              <a:gd name="connsiteX107" fmla="*/ 1667941 w 12191999"/>
              <a:gd name="connsiteY107" fmla="*/ 5617152 h 6629400"/>
              <a:gd name="connsiteX108" fmla="*/ 1525042 w 12191999"/>
              <a:gd name="connsiteY108" fmla="*/ 5617152 h 6629400"/>
              <a:gd name="connsiteX109" fmla="*/ 1525042 w 12191999"/>
              <a:gd name="connsiteY109" fmla="*/ 5807537 h 6629400"/>
              <a:gd name="connsiteX110" fmla="*/ 1409835 w 12191999"/>
              <a:gd name="connsiteY110" fmla="*/ 5835281 h 6629400"/>
              <a:gd name="connsiteX111" fmla="*/ 1320560 w 12191999"/>
              <a:gd name="connsiteY111" fmla="*/ 5617131 h 6629400"/>
              <a:gd name="connsiteX112" fmla="*/ 719852 w 12191999"/>
              <a:gd name="connsiteY112" fmla="*/ 5577930 h 6629400"/>
              <a:gd name="connsiteX113" fmla="*/ 460328 w 12191999"/>
              <a:gd name="connsiteY113" fmla="*/ 5801525 h 6629400"/>
              <a:gd name="connsiteX114" fmla="*/ 457197 w 12191999"/>
              <a:gd name="connsiteY114" fmla="*/ 5825328 h 6629400"/>
              <a:gd name="connsiteX115" fmla="*/ 522383 w 12191999"/>
              <a:gd name="connsiteY115" fmla="*/ 5827210 h 6629400"/>
              <a:gd name="connsiteX116" fmla="*/ 774645 w 12191999"/>
              <a:gd name="connsiteY116" fmla="*/ 5582006 h 6629400"/>
              <a:gd name="connsiteX117" fmla="*/ 719852 w 12191999"/>
              <a:gd name="connsiteY117" fmla="*/ 5577930 h 6629400"/>
              <a:gd name="connsiteX118" fmla="*/ 0 w 12191999"/>
              <a:gd name="connsiteY118" fmla="*/ 0 h 6629400"/>
              <a:gd name="connsiteX119" fmla="*/ 12191999 w 12191999"/>
              <a:gd name="connsiteY119" fmla="*/ 0 h 6629400"/>
              <a:gd name="connsiteX120" fmla="*/ 12191999 w 12191999"/>
              <a:gd name="connsiteY120" fmla="*/ 6629400 h 6629400"/>
              <a:gd name="connsiteX121" fmla="*/ 0 w 12191999"/>
              <a:gd name="connsiteY121" fmla="*/ 6629400 h 662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91999" h="6629400">
                <a:moveTo>
                  <a:pt x="460821" y="5898317"/>
                </a:moveTo>
                <a:cubicBezTo>
                  <a:pt x="481911" y="6011270"/>
                  <a:pt x="572155" y="6098622"/>
                  <a:pt x="685915" y="6116195"/>
                </a:cubicBezTo>
                <a:cubicBezTo>
                  <a:pt x="683003" y="6032711"/>
                  <a:pt x="615220" y="5948620"/>
                  <a:pt x="512601" y="5911907"/>
                </a:cubicBezTo>
                <a:cubicBezTo>
                  <a:pt x="495771" y="5905879"/>
                  <a:pt x="478445" y="5901332"/>
                  <a:pt x="460821" y="5898317"/>
                </a:cubicBezTo>
                <a:close/>
                <a:moveTo>
                  <a:pt x="2464549" y="5870301"/>
                </a:moveTo>
                <a:lnTo>
                  <a:pt x="2557701" y="5870301"/>
                </a:lnTo>
                <a:cubicBezTo>
                  <a:pt x="2565975" y="5870255"/>
                  <a:pt x="2574227" y="5871041"/>
                  <a:pt x="2582355" y="5872643"/>
                </a:cubicBezTo>
                <a:cubicBezTo>
                  <a:pt x="2618969" y="5880755"/>
                  <a:pt x="2633004" y="5909587"/>
                  <a:pt x="2633004" y="5933818"/>
                </a:cubicBezTo>
                <a:cubicBezTo>
                  <a:pt x="2633004" y="5965870"/>
                  <a:pt x="2612371" y="5987614"/>
                  <a:pt x="2581769" y="5994869"/>
                </a:cubicBezTo>
                <a:lnTo>
                  <a:pt x="2581810" y="5994869"/>
                </a:lnTo>
                <a:cubicBezTo>
                  <a:pt x="2571714" y="5996734"/>
                  <a:pt x="2561450" y="5997624"/>
                  <a:pt x="2551185" y="5997524"/>
                </a:cubicBezTo>
                <a:lnTo>
                  <a:pt x="2464549" y="5997524"/>
                </a:lnTo>
                <a:close/>
                <a:moveTo>
                  <a:pt x="1637003" y="5867144"/>
                </a:moveTo>
                <a:cubicBezTo>
                  <a:pt x="1721670" y="5868231"/>
                  <a:pt x="1770916" y="5892839"/>
                  <a:pt x="1770916" y="5936599"/>
                </a:cubicBezTo>
                <a:cubicBezTo>
                  <a:pt x="1770916" y="5975989"/>
                  <a:pt x="1735641" y="5997461"/>
                  <a:pt x="1695528" y="5997461"/>
                </a:cubicBezTo>
                <a:lnTo>
                  <a:pt x="1695528" y="5997398"/>
                </a:lnTo>
                <a:lnTo>
                  <a:pt x="1602441" y="5997398"/>
                </a:lnTo>
                <a:lnTo>
                  <a:pt x="1602441" y="5867771"/>
                </a:lnTo>
                <a:cubicBezTo>
                  <a:pt x="1614234" y="5867270"/>
                  <a:pt x="1625817" y="5867019"/>
                  <a:pt x="1637003" y="5867144"/>
                </a:cubicBezTo>
                <a:close/>
                <a:moveTo>
                  <a:pt x="2901500" y="5806261"/>
                </a:moveTo>
                <a:cubicBezTo>
                  <a:pt x="2949364" y="5806261"/>
                  <a:pt x="2985748" y="5837894"/>
                  <a:pt x="2991111" y="5882762"/>
                </a:cubicBezTo>
                <a:lnTo>
                  <a:pt x="2813042" y="5882762"/>
                </a:lnTo>
                <a:cubicBezTo>
                  <a:pt x="2818445" y="5836598"/>
                  <a:pt x="2855941" y="5806261"/>
                  <a:pt x="2901500" y="5806261"/>
                </a:cubicBezTo>
                <a:close/>
                <a:moveTo>
                  <a:pt x="3059481" y="5747636"/>
                </a:moveTo>
                <a:lnTo>
                  <a:pt x="3187089" y="6068338"/>
                </a:lnTo>
                <a:lnTo>
                  <a:pt x="3256611" y="6068338"/>
                </a:lnTo>
                <a:lnTo>
                  <a:pt x="3383967" y="5747636"/>
                </a:lnTo>
                <a:lnTo>
                  <a:pt x="3303154" y="5747636"/>
                </a:lnTo>
                <a:lnTo>
                  <a:pt x="3222719" y="5976741"/>
                </a:lnTo>
                <a:lnTo>
                  <a:pt x="3141090" y="5747636"/>
                </a:lnTo>
                <a:close/>
                <a:moveTo>
                  <a:pt x="2900809" y="5740778"/>
                </a:moveTo>
                <a:cubicBezTo>
                  <a:pt x="2809356" y="5740778"/>
                  <a:pt x="2738282" y="5814226"/>
                  <a:pt x="2738282" y="5910234"/>
                </a:cubicBezTo>
                <a:cubicBezTo>
                  <a:pt x="2738282" y="5998840"/>
                  <a:pt x="2808266" y="6075195"/>
                  <a:pt x="2904013" y="6075195"/>
                </a:cubicBezTo>
                <a:cubicBezTo>
                  <a:pt x="2973955" y="6075195"/>
                  <a:pt x="3028123" y="6035032"/>
                  <a:pt x="3055794" y="5969946"/>
                </a:cubicBezTo>
                <a:lnTo>
                  <a:pt x="2979192" y="5969946"/>
                </a:lnTo>
                <a:cubicBezTo>
                  <a:pt x="2961932" y="5995725"/>
                  <a:pt x="2938805" y="6009671"/>
                  <a:pt x="2905292" y="6009671"/>
                </a:cubicBezTo>
                <a:cubicBezTo>
                  <a:pt x="2855376" y="6009671"/>
                  <a:pt x="2822720" y="5980400"/>
                  <a:pt x="2812812" y="5935281"/>
                </a:cubicBezTo>
                <a:lnTo>
                  <a:pt x="3063565" y="5935281"/>
                </a:lnTo>
                <a:cubicBezTo>
                  <a:pt x="3065325" y="5925227"/>
                  <a:pt x="3066099" y="5915024"/>
                  <a:pt x="3065848" y="5904819"/>
                </a:cubicBezTo>
                <a:cubicBezTo>
                  <a:pt x="3065074" y="5818638"/>
                  <a:pt x="2998819" y="5740778"/>
                  <a:pt x="2900809" y="5740778"/>
                </a:cubicBezTo>
                <a:close/>
                <a:moveTo>
                  <a:pt x="2208349" y="5740778"/>
                </a:moveTo>
                <a:cubicBezTo>
                  <a:pt x="2169408" y="5740778"/>
                  <a:pt x="2132145" y="5755413"/>
                  <a:pt x="2108099" y="5794573"/>
                </a:cubicBezTo>
                <a:lnTo>
                  <a:pt x="2108099" y="5747636"/>
                </a:lnTo>
                <a:lnTo>
                  <a:pt x="2037632" y="5747636"/>
                </a:lnTo>
                <a:lnTo>
                  <a:pt x="2037632" y="6068337"/>
                </a:lnTo>
                <a:lnTo>
                  <a:pt x="2113041" y="6068337"/>
                </a:lnTo>
                <a:lnTo>
                  <a:pt x="2113041" y="5898463"/>
                </a:lnTo>
                <a:cubicBezTo>
                  <a:pt x="2112850" y="5886596"/>
                  <a:pt x="2114036" y="5874746"/>
                  <a:pt x="2116581" y="5863150"/>
                </a:cubicBezTo>
                <a:cubicBezTo>
                  <a:pt x="2125253" y="5828569"/>
                  <a:pt x="2149950" y="5808477"/>
                  <a:pt x="2186293" y="5808477"/>
                </a:cubicBezTo>
                <a:cubicBezTo>
                  <a:pt x="2223850" y="5808477"/>
                  <a:pt x="2245488" y="5827294"/>
                  <a:pt x="2252442" y="5864739"/>
                </a:cubicBezTo>
                <a:cubicBezTo>
                  <a:pt x="2254209" y="5875870"/>
                  <a:pt x="2255036" y="5887131"/>
                  <a:pt x="2254915" y="5898400"/>
                </a:cubicBezTo>
                <a:lnTo>
                  <a:pt x="2254915" y="6068337"/>
                </a:lnTo>
                <a:lnTo>
                  <a:pt x="2330323" y="6068337"/>
                </a:lnTo>
                <a:lnTo>
                  <a:pt x="2330323" y="5878559"/>
                </a:lnTo>
                <a:cubicBezTo>
                  <a:pt x="2330323" y="5857254"/>
                  <a:pt x="2328228" y="5838019"/>
                  <a:pt x="2323200" y="5821586"/>
                </a:cubicBezTo>
                <a:cubicBezTo>
                  <a:pt x="2306800" y="5767080"/>
                  <a:pt x="2263062" y="5740778"/>
                  <a:pt x="2208349" y="5740778"/>
                </a:cubicBezTo>
                <a:close/>
                <a:moveTo>
                  <a:pt x="1283861" y="5706344"/>
                </a:moveTo>
                <a:lnTo>
                  <a:pt x="1342282" y="5861917"/>
                </a:lnTo>
                <a:cubicBezTo>
                  <a:pt x="1281725" y="5889620"/>
                  <a:pt x="1227849" y="5925121"/>
                  <a:pt x="1183317" y="5965849"/>
                </a:cubicBezTo>
                <a:lnTo>
                  <a:pt x="1183317" y="5965807"/>
                </a:lnTo>
                <a:close/>
                <a:moveTo>
                  <a:pt x="2464508" y="5687966"/>
                </a:moveTo>
                <a:lnTo>
                  <a:pt x="2533967" y="5687966"/>
                </a:lnTo>
                <a:cubicBezTo>
                  <a:pt x="2549803" y="5687966"/>
                  <a:pt x="2566645" y="5690057"/>
                  <a:pt x="2577453" y="5695116"/>
                </a:cubicBezTo>
                <a:cubicBezTo>
                  <a:pt x="2596306" y="5703793"/>
                  <a:pt x="2606465" y="5719996"/>
                  <a:pt x="2606465" y="5744333"/>
                </a:cubicBezTo>
                <a:cubicBezTo>
                  <a:pt x="2606465" y="5768669"/>
                  <a:pt x="2595634" y="5785521"/>
                  <a:pt x="2576426" y="5794156"/>
                </a:cubicBezTo>
                <a:cubicBezTo>
                  <a:pt x="2566812" y="5798463"/>
                  <a:pt x="2552777" y="5800742"/>
                  <a:pt x="2536627" y="5800742"/>
                </a:cubicBezTo>
                <a:lnTo>
                  <a:pt x="2464549" y="5800742"/>
                </a:lnTo>
                <a:close/>
                <a:moveTo>
                  <a:pt x="1602441" y="5687966"/>
                </a:moveTo>
                <a:lnTo>
                  <a:pt x="1668821" y="5687966"/>
                </a:lnTo>
                <a:cubicBezTo>
                  <a:pt x="1683987" y="5687966"/>
                  <a:pt x="1696701" y="5689680"/>
                  <a:pt x="1705415" y="5692524"/>
                </a:cubicBezTo>
                <a:cubicBezTo>
                  <a:pt x="1730551" y="5700740"/>
                  <a:pt x="1744397" y="5719704"/>
                  <a:pt x="1744397" y="5750271"/>
                </a:cubicBezTo>
                <a:cubicBezTo>
                  <a:pt x="1744397" y="5778579"/>
                  <a:pt x="1730111" y="5797187"/>
                  <a:pt x="1707447" y="5805738"/>
                </a:cubicBezTo>
                <a:cubicBezTo>
                  <a:pt x="1683455" y="5801825"/>
                  <a:pt x="1659177" y="5799922"/>
                  <a:pt x="1634866" y="5800052"/>
                </a:cubicBezTo>
                <a:cubicBezTo>
                  <a:pt x="1624770" y="5800052"/>
                  <a:pt x="1613668" y="5800198"/>
                  <a:pt x="1602441" y="5800553"/>
                </a:cubicBezTo>
                <a:close/>
                <a:moveTo>
                  <a:pt x="906484" y="5645042"/>
                </a:moveTo>
                <a:cubicBezTo>
                  <a:pt x="801931" y="5693621"/>
                  <a:pt x="733081" y="5796162"/>
                  <a:pt x="727808" y="5911154"/>
                </a:cubicBezTo>
                <a:cubicBezTo>
                  <a:pt x="724373" y="5983394"/>
                  <a:pt x="746531" y="6054536"/>
                  <a:pt x="790397" y="6112097"/>
                </a:cubicBezTo>
                <a:cubicBezTo>
                  <a:pt x="936197" y="6077367"/>
                  <a:pt x="1026185" y="5931242"/>
                  <a:pt x="991392" y="5785714"/>
                </a:cubicBezTo>
                <a:cubicBezTo>
                  <a:pt x="978355" y="5731184"/>
                  <a:pt x="948688" y="5682034"/>
                  <a:pt x="906484" y="5645042"/>
                </a:cubicBezTo>
                <a:close/>
                <a:moveTo>
                  <a:pt x="2387172" y="5617152"/>
                </a:moveTo>
                <a:lnTo>
                  <a:pt x="2387172" y="6068338"/>
                </a:lnTo>
                <a:lnTo>
                  <a:pt x="2547206" y="6068338"/>
                </a:lnTo>
                <a:cubicBezTo>
                  <a:pt x="2578395" y="6068338"/>
                  <a:pt x="2599301" y="6065369"/>
                  <a:pt x="2619786" y="6058156"/>
                </a:cubicBezTo>
                <a:cubicBezTo>
                  <a:pt x="2673411" y="6039339"/>
                  <a:pt x="2710381" y="5997712"/>
                  <a:pt x="2710381" y="5936725"/>
                </a:cubicBezTo>
                <a:cubicBezTo>
                  <a:pt x="2710381" y="5885815"/>
                  <a:pt x="2686145" y="5849624"/>
                  <a:pt x="2640462" y="5827190"/>
                </a:cubicBezTo>
                <a:cubicBezTo>
                  <a:pt x="2671044" y="5803752"/>
                  <a:pt x="2683905" y="5776865"/>
                  <a:pt x="2683905" y="5738458"/>
                </a:cubicBezTo>
                <a:cubicBezTo>
                  <a:pt x="2683905" y="5680962"/>
                  <a:pt x="2648296" y="5637871"/>
                  <a:pt x="2593833" y="5623173"/>
                </a:cubicBezTo>
                <a:cubicBezTo>
                  <a:pt x="2579716" y="5619389"/>
                  <a:pt x="2556779" y="5617152"/>
                  <a:pt x="2530072" y="5617152"/>
                </a:cubicBezTo>
                <a:close/>
                <a:moveTo>
                  <a:pt x="1894021" y="5617152"/>
                </a:moveTo>
                <a:lnTo>
                  <a:pt x="1894021" y="6068338"/>
                </a:lnTo>
                <a:lnTo>
                  <a:pt x="1972236" y="6068338"/>
                </a:lnTo>
                <a:lnTo>
                  <a:pt x="1972236" y="5617152"/>
                </a:lnTo>
                <a:close/>
                <a:moveTo>
                  <a:pt x="1248775" y="5617131"/>
                </a:moveTo>
                <a:lnTo>
                  <a:pt x="1064297" y="6068338"/>
                </a:lnTo>
                <a:lnTo>
                  <a:pt x="1139559" y="6068338"/>
                </a:lnTo>
                <a:cubicBezTo>
                  <a:pt x="1204620" y="5999698"/>
                  <a:pt x="1282269" y="5950440"/>
                  <a:pt x="1363124" y="5917803"/>
                </a:cubicBezTo>
                <a:lnTo>
                  <a:pt x="1419680" y="6068338"/>
                </a:lnTo>
                <a:lnTo>
                  <a:pt x="1505038" y="6068338"/>
                </a:lnTo>
                <a:lnTo>
                  <a:pt x="1433589" y="5893529"/>
                </a:lnTo>
                <a:cubicBezTo>
                  <a:pt x="1463608" y="5885008"/>
                  <a:pt x="1494158" y="5878478"/>
                  <a:pt x="1525042" y="5873981"/>
                </a:cubicBezTo>
                <a:lnTo>
                  <a:pt x="1525042" y="6068275"/>
                </a:lnTo>
                <a:lnTo>
                  <a:pt x="1563878" y="6068275"/>
                </a:lnTo>
                <a:lnTo>
                  <a:pt x="1700283" y="6068275"/>
                </a:lnTo>
                <a:cubicBezTo>
                  <a:pt x="1796638" y="6068275"/>
                  <a:pt x="1848377" y="6011825"/>
                  <a:pt x="1848377" y="5936557"/>
                </a:cubicBezTo>
                <a:cubicBezTo>
                  <a:pt x="1848377" y="5891104"/>
                  <a:pt x="1825733" y="5852321"/>
                  <a:pt x="1777661" y="5827817"/>
                </a:cubicBezTo>
                <a:cubicBezTo>
                  <a:pt x="1810254" y="5804024"/>
                  <a:pt x="1821775" y="5768460"/>
                  <a:pt x="1821775" y="5738458"/>
                </a:cubicBezTo>
                <a:cubicBezTo>
                  <a:pt x="1821775" y="5680962"/>
                  <a:pt x="1786165" y="5637871"/>
                  <a:pt x="1731703" y="5623173"/>
                </a:cubicBezTo>
                <a:cubicBezTo>
                  <a:pt x="1717585" y="5619389"/>
                  <a:pt x="1694648" y="5617152"/>
                  <a:pt x="1667941" y="5617152"/>
                </a:cubicBezTo>
                <a:lnTo>
                  <a:pt x="1525042" y="5617152"/>
                </a:lnTo>
                <a:lnTo>
                  <a:pt x="1525042" y="5807537"/>
                </a:lnTo>
                <a:cubicBezTo>
                  <a:pt x="1485912" y="5813460"/>
                  <a:pt x="1447368" y="5822743"/>
                  <a:pt x="1409835" y="5835281"/>
                </a:cubicBezTo>
                <a:lnTo>
                  <a:pt x="1320560" y="5617131"/>
                </a:lnTo>
                <a:close/>
                <a:moveTo>
                  <a:pt x="719852" y="5577930"/>
                </a:moveTo>
                <a:cubicBezTo>
                  <a:pt x="593728" y="5581326"/>
                  <a:pt x="483134" y="5672678"/>
                  <a:pt x="460328" y="5801525"/>
                </a:cubicBezTo>
                <a:cubicBezTo>
                  <a:pt x="458932" y="5809409"/>
                  <a:pt x="457887" y="5817352"/>
                  <a:pt x="457197" y="5825328"/>
                </a:cubicBezTo>
                <a:cubicBezTo>
                  <a:pt x="478780" y="5828466"/>
                  <a:pt x="500655" y="5829098"/>
                  <a:pt x="522383" y="5827210"/>
                </a:cubicBezTo>
                <a:cubicBezTo>
                  <a:pt x="657825" y="5815418"/>
                  <a:pt x="762077" y="5710086"/>
                  <a:pt x="774645" y="5582006"/>
                </a:cubicBezTo>
                <a:cubicBezTo>
                  <a:pt x="756204" y="5578754"/>
                  <a:pt x="737870" y="5577444"/>
                  <a:pt x="719852" y="5577930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629400"/>
                </a:lnTo>
                <a:lnTo>
                  <a:pt x="0" y="6629400"/>
                </a:lnTo>
                <a:close/>
              </a:path>
            </a:pathLst>
          </a:custGeo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>
              <a:spcAft>
                <a:spcPts val="0"/>
              </a:spcAft>
              <a:defRPr sz="1200"/>
            </a:lvl1pPr>
          </a:lstStyle>
          <a:p>
            <a:r>
              <a:rPr lang="en-US"/>
              <a:t>                                                                                                                                                                                               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353236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1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AE2584F-816B-764D-8511-C8F9AD193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5805378"/>
            <a:ext cx="2926265" cy="53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126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BC275D0-8E12-7FD6-E71A-87CDC548D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4233188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78" imgH="379" progId="TCLayout.ActiveDocument.1">
                  <p:embed/>
                </p:oleObj>
              </mc:Choice>
              <mc:Fallback>
                <p:oleObj name="think-cell Slide" r:id="rId39" imgW="378" imgH="37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C275D0-8E12-7FD6-E71A-87CDC548D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6696A-2614-174D-B7E6-C777DDB95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4123" y="6260306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9E61589-955B-3549-AD19-CD847E0672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40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039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51" r:id="rId2"/>
    <p:sldLayoutId id="2147483752" r:id="rId3"/>
    <p:sldLayoutId id="2147483717" r:id="rId4"/>
    <p:sldLayoutId id="2147483718" r:id="rId5"/>
    <p:sldLayoutId id="2147483719" r:id="rId6"/>
    <p:sldLayoutId id="2147483720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22" r:id="rId13"/>
    <p:sldLayoutId id="2147483723" r:id="rId14"/>
    <p:sldLayoutId id="2147483753" r:id="rId15"/>
    <p:sldLayoutId id="2147483754" r:id="rId16"/>
    <p:sldLayoutId id="2147483755" r:id="rId17"/>
    <p:sldLayoutId id="2147483727" r:id="rId18"/>
    <p:sldLayoutId id="2147483730" r:id="rId19"/>
    <p:sldLayoutId id="2147483731" r:id="rId20"/>
    <p:sldLayoutId id="2147483732" r:id="rId21"/>
    <p:sldLayoutId id="2147483733" r:id="rId22"/>
    <p:sldLayoutId id="2147483737" r:id="rId23"/>
    <p:sldLayoutId id="2147483746" r:id="rId24"/>
    <p:sldLayoutId id="2147483747" r:id="rId25"/>
    <p:sldLayoutId id="2147483736" r:id="rId26"/>
    <p:sldLayoutId id="2147483749" r:id="rId27"/>
    <p:sldLayoutId id="2147483750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56" r:id="rId36"/>
  </p:sldLayoutIdLst>
  <p:hf hdr="0" ftr="0" dt="0"/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18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5" indent="-228605" algn="l" defTabSz="914418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14" indent="-228605" algn="l" defTabSz="914418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23" indent="-228605" algn="l" defTabSz="914418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480" userDrawn="1">
          <p15:clr>
            <a:srgbClr val="F26B43"/>
          </p15:clr>
        </p15:guide>
        <p15:guide id="4" orient="horz" pos="3816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7" pos="7296" userDrawn="1">
          <p15:clr>
            <a:srgbClr val="F26B43"/>
          </p15:clr>
        </p15:guide>
        <p15:guide id="8" pos="3120" userDrawn="1">
          <p15:clr>
            <a:srgbClr val="F26B43"/>
          </p15:clr>
        </p15:guide>
        <p15:guide id="9" pos="4560" userDrawn="1">
          <p15:clr>
            <a:srgbClr val="F26B43"/>
          </p15:clr>
        </p15:guide>
        <p15:guide id="10" orient="horz" pos="160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5.png"/><Relationship Id="rId18" Type="http://schemas.openxmlformats.org/officeDocument/2006/relationships/image" Target="../media/image20.jpeg"/><Relationship Id="rId26" Type="http://schemas.openxmlformats.org/officeDocument/2006/relationships/image" Target="../media/image28.jpeg"/><Relationship Id="rId3" Type="http://schemas.openxmlformats.org/officeDocument/2006/relationships/diagramData" Target="../diagrams/data1.xml"/><Relationship Id="rId21" Type="http://schemas.openxmlformats.org/officeDocument/2006/relationships/image" Target="../media/image23.pn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8.png"/><Relationship Id="rId20" Type="http://schemas.openxmlformats.org/officeDocument/2006/relationships/image" Target="../media/image22.jpeg"/><Relationship Id="rId29" Type="http://schemas.openxmlformats.org/officeDocument/2006/relationships/image" Target="../media/image31.png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image" Target="../media/image26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jpeg"/><Relationship Id="rId10" Type="http://schemas.openxmlformats.org/officeDocument/2006/relationships/diagramQuickStyle" Target="../diagrams/quickStyle2.xml"/><Relationship Id="rId19" Type="http://schemas.openxmlformats.org/officeDocument/2006/relationships/image" Target="../media/image21.png"/><Relationship Id="rId31" Type="http://schemas.openxmlformats.org/officeDocument/2006/relationships/image" Target="../media/image33.jpeg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6.png"/><Relationship Id="rId22" Type="http://schemas.openxmlformats.org/officeDocument/2006/relationships/image" Target="../media/image24.jpeg"/><Relationship Id="rId27" Type="http://schemas.openxmlformats.org/officeDocument/2006/relationships/image" Target="../media/image29.jpeg"/><Relationship Id="rId30" Type="http://schemas.openxmlformats.org/officeDocument/2006/relationships/image" Target="../media/image3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microsoft.com/office/2007/relationships/diagramDrawing" Target="../diagrams/drawing3.xml"/><Relationship Id="rId3" Type="http://schemas.openxmlformats.org/officeDocument/2006/relationships/image" Target="../media/image34.jpeg"/><Relationship Id="rId7" Type="http://schemas.openxmlformats.org/officeDocument/2006/relationships/image" Target="../media/image38.png"/><Relationship Id="rId12" Type="http://schemas.openxmlformats.org/officeDocument/2006/relationships/diagramColors" Target="../diagrams/colors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7.jpeg"/><Relationship Id="rId11" Type="http://schemas.openxmlformats.org/officeDocument/2006/relationships/diagramQuickStyle" Target="../diagrams/quickStyle3.xml"/><Relationship Id="rId5" Type="http://schemas.openxmlformats.org/officeDocument/2006/relationships/image" Target="../media/image36.jpeg"/><Relationship Id="rId10" Type="http://schemas.openxmlformats.org/officeDocument/2006/relationships/diagramLayout" Target="../diagrams/layout3.xml"/><Relationship Id="rId4" Type="http://schemas.openxmlformats.org/officeDocument/2006/relationships/image" Target="../media/image35.jpeg"/><Relationship Id="rId9" Type="http://schemas.openxmlformats.org/officeDocument/2006/relationships/diagramData" Target="../diagrams/data3.xml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6.png"/><Relationship Id="rId3" Type="http://schemas.openxmlformats.org/officeDocument/2006/relationships/image" Target="../media/image40.jpeg"/><Relationship Id="rId7" Type="http://schemas.openxmlformats.org/officeDocument/2006/relationships/chart" Target="../charts/chart1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3.png"/><Relationship Id="rId11" Type="http://schemas.openxmlformats.org/officeDocument/2006/relationships/diagramColors" Target="../diagrams/colors4.xml"/><Relationship Id="rId5" Type="http://schemas.openxmlformats.org/officeDocument/2006/relationships/image" Target="../media/image42.jpeg"/><Relationship Id="rId10" Type="http://schemas.openxmlformats.org/officeDocument/2006/relationships/diagramQuickStyle" Target="../diagrams/quickStyle4.xml"/><Relationship Id="rId4" Type="http://schemas.openxmlformats.org/officeDocument/2006/relationships/image" Target="../media/image41.jpeg"/><Relationship Id="rId9" Type="http://schemas.openxmlformats.org/officeDocument/2006/relationships/diagramLayout" Target="../diagrams/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microsoft.com/office/2007/relationships/diagramDrawing" Target="../diagrams/drawing5.xml"/><Relationship Id="rId18" Type="http://schemas.openxmlformats.org/officeDocument/2006/relationships/image" Target="../media/image53.jpe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12" Type="http://schemas.openxmlformats.org/officeDocument/2006/relationships/diagramColors" Target="../diagrams/colors5.xml"/><Relationship Id="rId17" Type="http://schemas.openxmlformats.org/officeDocument/2006/relationships/image" Target="../media/image52.jpe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1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7.png"/><Relationship Id="rId11" Type="http://schemas.openxmlformats.org/officeDocument/2006/relationships/diagramQuickStyle" Target="../diagrams/quickStyle5.xml"/><Relationship Id="rId5" Type="http://schemas.openxmlformats.org/officeDocument/2006/relationships/image" Target="../media/image46.jpeg"/><Relationship Id="rId15" Type="http://schemas.openxmlformats.org/officeDocument/2006/relationships/image" Target="../media/image50.jpeg"/><Relationship Id="rId10" Type="http://schemas.openxmlformats.org/officeDocument/2006/relationships/diagramLayout" Target="../diagrams/layout5.xml"/><Relationship Id="rId4" Type="http://schemas.openxmlformats.org/officeDocument/2006/relationships/image" Target="../media/image45.png"/><Relationship Id="rId9" Type="http://schemas.openxmlformats.org/officeDocument/2006/relationships/diagramData" Target="../diagrams/data5.xml"/><Relationship Id="rId1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diagramQuickStyle" Target="../diagrams/quickStyle6.xml"/><Relationship Id="rId3" Type="http://schemas.openxmlformats.org/officeDocument/2006/relationships/image" Target="../media/image54.png"/><Relationship Id="rId21" Type="http://schemas.openxmlformats.org/officeDocument/2006/relationships/image" Target="../media/image16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diagramLayout" Target="../diagrams/layout6.xml"/><Relationship Id="rId2" Type="http://schemas.openxmlformats.org/officeDocument/2006/relationships/notesSlide" Target="../notesSlides/notesSlide5.xml"/><Relationship Id="rId16" Type="http://schemas.openxmlformats.org/officeDocument/2006/relationships/diagramData" Target="../diagrams/data6.xml"/><Relationship Id="rId20" Type="http://schemas.microsoft.com/office/2007/relationships/diagramDrawing" Target="../diagrams/drawing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10" Type="http://schemas.openxmlformats.org/officeDocument/2006/relationships/image" Target="../media/image61.png"/><Relationship Id="rId19" Type="http://schemas.openxmlformats.org/officeDocument/2006/relationships/diagramColors" Target="../diagrams/colors6.xml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jpeg"/><Relationship Id="rId22" Type="http://schemas.openxmlformats.org/officeDocument/2006/relationships/image" Target="../media/image6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7.xml"/><Relationship Id="rId13" Type="http://schemas.microsoft.com/office/2007/relationships/hdphoto" Target="../media/hdphoto1.wdp"/><Relationship Id="rId3" Type="http://schemas.openxmlformats.org/officeDocument/2006/relationships/image" Target="../media/image68.png"/><Relationship Id="rId7" Type="http://schemas.openxmlformats.org/officeDocument/2006/relationships/diagramLayout" Target="../diagrams/layout7.xml"/><Relationship Id="rId12" Type="http://schemas.openxmlformats.org/officeDocument/2006/relationships/image" Target="../media/image7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diagramData" Target="../diagrams/data7.xml"/><Relationship Id="rId11" Type="http://schemas.openxmlformats.org/officeDocument/2006/relationships/image" Target="../media/image16.png"/><Relationship Id="rId5" Type="http://schemas.openxmlformats.org/officeDocument/2006/relationships/image" Target="../media/image69.png"/><Relationship Id="rId10" Type="http://schemas.microsoft.com/office/2007/relationships/diagramDrawing" Target="../diagrams/drawing7.xml"/><Relationship Id="rId4" Type="http://schemas.openxmlformats.org/officeDocument/2006/relationships/chart" Target="../charts/chart2.xml"/><Relationship Id="rId9" Type="http://schemas.openxmlformats.org/officeDocument/2006/relationships/diagramColors" Target="../diagrams/colors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.xlsx"/><Relationship Id="rId13" Type="http://schemas.openxmlformats.org/officeDocument/2006/relationships/diagramData" Target="../diagrams/data8.xml"/><Relationship Id="rId18" Type="http://schemas.openxmlformats.org/officeDocument/2006/relationships/image" Target="../media/image16.png"/><Relationship Id="rId3" Type="http://schemas.openxmlformats.org/officeDocument/2006/relationships/image" Target="../media/image71.png"/><Relationship Id="rId7" Type="http://schemas.openxmlformats.org/officeDocument/2006/relationships/image" Target="../media/image73.emf"/><Relationship Id="rId12" Type="http://schemas.openxmlformats.org/officeDocument/2006/relationships/image" Target="../media/image75.wmf"/><Relationship Id="rId17" Type="http://schemas.microsoft.com/office/2007/relationships/diagramDrawing" Target="../diagrams/drawing8.xml"/><Relationship Id="rId2" Type="http://schemas.openxmlformats.org/officeDocument/2006/relationships/notesSlide" Target="../notesSlides/notesSlide7.xml"/><Relationship Id="rId16" Type="http://schemas.openxmlformats.org/officeDocument/2006/relationships/diagramColors" Target="../diagrams/colors8.xml"/><Relationship Id="rId1" Type="http://schemas.openxmlformats.org/officeDocument/2006/relationships/slideLayout" Target="../slideLayouts/slideLayout25.xml"/><Relationship Id="rId6" Type="http://schemas.openxmlformats.org/officeDocument/2006/relationships/package" Target="../embeddings/Microsoft_Excel_Worksheet1.xlsx"/><Relationship Id="rId11" Type="http://schemas.openxmlformats.org/officeDocument/2006/relationships/package" Target="../embeddings/Microsoft_Excel_Worksheet3.xlsx"/><Relationship Id="rId5" Type="http://schemas.openxmlformats.org/officeDocument/2006/relationships/image" Target="../media/image72.emf"/><Relationship Id="rId15" Type="http://schemas.openxmlformats.org/officeDocument/2006/relationships/diagramQuickStyle" Target="../diagrams/quickStyle8.xml"/><Relationship Id="rId10" Type="http://schemas.openxmlformats.org/officeDocument/2006/relationships/slide" Target="slide8.xml"/><Relationship Id="rId4" Type="http://schemas.openxmlformats.org/officeDocument/2006/relationships/package" Target="../embeddings/Microsoft_Excel_Worksheet.xlsx"/><Relationship Id="rId9" Type="http://schemas.openxmlformats.org/officeDocument/2006/relationships/image" Target="../media/image74.emf"/><Relationship Id="rId14" Type="http://schemas.openxmlformats.org/officeDocument/2006/relationships/diagramLayout" Target="../diagrams/layout8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13" Type="http://schemas.openxmlformats.org/officeDocument/2006/relationships/image" Target="../media/image79.png"/><Relationship Id="rId3" Type="http://schemas.openxmlformats.org/officeDocument/2006/relationships/chart" Target="../charts/chart3.xml"/><Relationship Id="rId7" Type="http://schemas.openxmlformats.org/officeDocument/2006/relationships/diagramColors" Target="../diagrams/colors9.xml"/><Relationship Id="rId12" Type="http://schemas.openxmlformats.org/officeDocument/2006/relationships/image" Target="../media/image7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6" Type="http://schemas.openxmlformats.org/officeDocument/2006/relationships/diagramQuickStyle" Target="../diagrams/quickStyle9.xml"/><Relationship Id="rId11" Type="http://schemas.openxmlformats.org/officeDocument/2006/relationships/image" Target="../media/image77.png"/><Relationship Id="rId5" Type="http://schemas.openxmlformats.org/officeDocument/2006/relationships/diagramLayout" Target="../diagrams/layout9.xml"/><Relationship Id="rId10" Type="http://schemas.openxmlformats.org/officeDocument/2006/relationships/image" Target="../media/image76.png"/><Relationship Id="rId4" Type="http://schemas.openxmlformats.org/officeDocument/2006/relationships/diagramData" Target="../diagrams/data9.xml"/><Relationship Id="rId9" Type="http://schemas.openxmlformats.org/officeDocument/2006/relationships/image" Target="../media/image16.png"/><Relationship Id="rId14" Type="http://schemas.openxmlformats.org/officeDocument/2006/relationships/image" Target="../media/image8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A93F41A-9E15-BF7A-0420-EDF5C75F5584}"/>
              </a:ext>
            </a:extLst>
          </p:cNvPr>
          <p:cNvSpPr txBox="1"/>
          <p:nvPr/>
        </p:nvSpPr>
        <p:spPr>
          <a:xfrm>
            <a:off x="6328229" y="2123440"/>
            <a:ext cx="5030650" cy="418128"/>
          </a:xfrm>
          <a:prstGeom prst="rect">
            <a:avLst/>
          </a:prstGeom>
          <a:noFill/>
          <a:ln w="28575">
            <a:solidFill>
              <a:srgbClr val="E7C620"/>
            </a:solidFill>
          </a:ln>
        </p:spPr>
        <p:txBody>
          <a:bodyPr wrap="square" rtlCol="0">
            <a:spAutoFit/>
          </a:bodyPr>
          <a:lstStyle/>
          <a:p>
            <a:endParaRPr lang="en-US" sz="2117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FAAD29-4AF7-5682-DDD6-5F5C513CEBA8}"/>
              </a:ext>
            </a:extLst>
          </p:cNvPr>
          <p:cNvSpPr txBox="1"/>
          <p:nvPr/>
        </p:nvSpPr>
        <p:spPr>
          <a:xfrm>
            <a:off x="6319520" y="3429000"/>
            <a:ext cx="5039360" cy="418128"/>
          </a:xfrm>
          <a:prstGeom prst="rect">
            <a:avLst/>
          </a:prstGeom>
          <a:noFill/>
          <a:ln w="28575">
            <a:solidFill>
              <a:srgbClr val="E7C620"/>
            </a:solidFill>
          </a:ln>
        </p:spPr>
        <p:txBody>
          <a:bodyPr wrap="square" rtlCol="0">
            <a:spAutoFit/>
          </a:bodyPr>
          <a:lstStyle/>
          <a:p>
            <a:r>
              <a:rPr lang="en-US" sz="2117">
                <a:solidFill>
                  <a:schemeClr val="accent1"/>
                </a:solidFill>
              </a:rPr>
              <a:t>XLRI Jamshedpu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E30ACE-F84E-6D04-EE41-1ACE15997B3F}"/>
              </a:ext>
            </a:extLst>
          </p:cNvPr>
          <p:cNvSpPr txBox="1"/>
          <p:nvPr/>
        </p:nvSpPr>
        <p:spPr>
          <a:xfrm>
            <a:off x="6319520" y="5209898"/>
            <a:ext cx="5039360" cy="1395510"/>
          </a:xfrm>
          <a:prstGeom prst="rect">
            <a:avLst/>
          </a:prstGeom>
          <a:noFill/>
          <a:ln w="28575">
            <a:solidFill>
              <a:srgbClr val="E7C620"/>
            </a:solidFill>
          </a:ln>
        </p:spPr>
        <p:txBody>
          <a:bodyPr wrap="square" rtlCol="0">
            <a:spAutoFit/>
          </a:bodyPr>
          <a:lstStyle/>
          <a:p>
            <a:r>
              <a:rPr lang="en-US" sz="2117" err="1">
                <a:solidFill>
                  <a:schemeClr val="accent1"/>
                </a:solidFill>
              </a:rPr>
              <a:t>Debosree</a:t>
            </a:r>
            <a:r>
              <a:rPr lang="en-US" sz="2117">
                <a:solidFill>
                  <a:schemeClr val="accent1"/>
                </a:solidFill>
              </a:rPr>
              <a:t> Roy</a:t>
            </a:r>
          </a:p>
          <a:p>
            <a:r>
              <a:rPr lang="en-US" sz="2117" err="1">
                <a:solidFill>
                  <a:schemeClr val="accent1"/>
                </a:solidFill>
              </a:rPr>
              <a:t>Drisha</a:t>
            </a:r>
            <a:r>
              <a:rPr lang="en-US" sz="2117">
                <a:solidFill>
                  <a:schemeClr val="accent1"/>
                </a:solidFill>
              </a:rPr>
              <a:t> Paul</a:t>
            </a:r>
            <a:br>
              <a:rPr lang="en-US" sz="2117">
                <a:solidFill>
                  <a:schemeClr val="accent1"/>
                </a:solidFill>
              </a:rPr>
            </a:br>
            <a:r>
              <a:rPr lang="en-US" sz="2117">
                <a:solidFill>
                  <a:schemeClr val="accent1"/>
                </a:solidFill>
              </a:rPr>
              <a:t>Aabhaas Dasgupta</a:t>
            </a:r>
          </a:p>
          <a:p>
            <a:endParaRPr lang="en-US" sz="2117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B9A19BB-BCD5-0F20-7974-AE3146E5512D}"/>
              </a:ext>
            </a:extLst>
          </p:cNvPr>
          <p:cNvSpPr/>
          <p:nvPr/>
        </p:nvSpPr>
        <p:spPr>
          <a:xfrm>
            <a:off x="10029825" y="171450"/>
            <a:ext cx="2076450" cy="609600"/>
          </a:xfrm>
          <a:prstGeom prst="rect">
            <a:avLst/>
          </a:prstGeom>
          <a:solidFill>
            <a:schemeClr val="tx1"/>
          </a:solidFill>
          <a:ln>
            <a:solidFill>
              <a:srgbClr val="0101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4D1AECB-6F7E-C997-7983-DC175DDA73F3}"/>
              </a:ext>
            </a:extLst>
          </p:cNvPr>
          <p:cNvSpPr txBox="1"/>
          <p:nvPr/>
        </p:nvSpPr>
        <p:spPr>
          <a:xfrm>
            <a:off x="6328229" y="2143820"/>
            <a:ext cx="23215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>
                <a:solidFill>
                  <a:schemeClr val="accent1"/>
                </a:solidFill>
              </a:rPr>
              <a:t>706630-U18X23AG</a:t>
            </a:r>
          </a:p>
        </p:txBody>
      </p:sp>
    </p:spTree>
    <p:extLst>
      <p:ext uri="{BB962C8B-B14F-4D97-AF65-F5344CB8AC3E}">
        <p14:creationId xmlns:p14="http://schemas.microsoft.com/office/powerpoint/2010/main" val="3418182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13ECC3-77B8-154B-92B9-557532147F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E61589-955B-3549-AD19-CD847E0672FB}" type="slidenum">
              <a:rPr lang="en-US" sz="1600" smtClean="0"/>
              <a:pPr/>
              <a:t>2</a:t>
            </a:fld>
            <a:endParaRPr lang="en-US" sz="1600"/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2B16D94-726B-2657-F8EB-5024934B74CC}"/>
              </a:ext>
            </a:extLst>
          </p:cNvPr>
          <p:cNvSpPr txBox="1">
            <a:spLocks/>
          </p:cNvSpPr>
          <p:nvPr/>
        </p:nvSpPr>
        <p:spPr>
          <a:xfrm>
            <a:off x="192486" y="283580"/>
            <a:ext cx="11506351" cy="6480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endParaRPr lang="en-US" sz="1600">
              <a:solidFill>
                <a:srgbClr val="D1A33C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90D130A-27A7-5D28-89AD-13ECC8F867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686350"/>
              </p:ext>
            </p:extLst>
          </p:nvPr>
        </p:nvGraphicFramePr>
        <p:xfrm>
          <a:off x="9980737" y="5056002"/>
          <a:ext cx="208280" cy="381726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483884946"/>
                    </a:ext>
                  </a:extLst>
                </a:gridCol>
              </a:tblGrid>
              <a:tr h="381726">
                <a:tc>
                  <a:txBody>
                    <a:bodyPr/>
                    <a:lstStyle/>
                    <a:p>
                      <a:endParaRPr lang="en-IN" sz="1900"/>
                    </a:p>
                  </a:txBody>
                  <a:tcPr>
                    <a:lnL w="3175" cmpd="sng">
                      <a:solidFill>
                        <a:schemeClr val="tx1"/>
                      </a:solidFill>
                      <a:prstDash val="sysDashDot"/>
                    </a:lnL>
                    <a:lnR w="3175" cmpd="sng">
                      <a:solidFill>
                        <a:schemeClr val="tx1"/>
                      </a:solidFill>
                      <a:prstDash val="sysDashDot"/>
                    </a:lnR>
                    <a:lnT w="3175" cmpd="sng">
                      <a:solidFill>
                        <a:schemeClr val="tx1"/>
                      </a:solidFill>
                      <a:prstDash val="sysDashDot"/>
                    </a:lnT>
                    <a:lnB w="3175" cmpd="sng">
                      <a:solidFill>
                        <a:schemeClr val="tx1"/>
                      </a:solidFill>
                      <a:prstDash val="sysDashDot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9228929"/>
                  </a:ext>
                </a:extLst>
              </a:tr>
            </a:tbl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031BDB3-EC49-765E-6124-9DCD812368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4513389"/>
              </p:ext>
            </p:extLst>
          </p:nvPr>
        </p:nvGraphicFramePr>
        <p:xfrm>
          <a:off x="342824" y="86581"/>
          <a:ext cx="11620727" cy="237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CCECF565-F319-CC90-9FAC-589DC16D48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4165641"/>
              </p:ext>
            </p:extLst>
          </p:nvPr>
        </p:nvGraphicFramePr>
        <p:xfrm>
          <a:off x="675447" y="910884"/>
          <a:ext cx="3174792" cy="26898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Right Brace 7">
            <a:extLst>
              <a:ext uri="{FF2B5EF4-FFF2-40B4-BE49-F238E27FC236}">
                <a16:creationId xmlns:a16="http://schemas.microsoft.com/office/drawing/2014/main" id="{AEB79C37-0143-E863-3544-E03A6D0E4439}"/>
              </a:ext>
            </a:extLst>
          </p:cNvPr>
          <p:cNvSpPr/>
          <p:nvPr/>
        </p:nvSpPr>
        <p:spPr>
          <a:xfrm rot="10800000">
            <a:off x="1186199" y="1034233"/>
            <a:ext cx="426720" cy="1147267"/>
          </a:xfrm>
          <a:prstGeom prst="rightBrace">
            <a:avLst>
              <a:gd name="adj1" fmla="val 8333"/>
              <a:gd name="adj2" fmla="val 52657"/>
            </a:avLst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02BD45-5591-80BE-B4FE-BDAA6EE4BE05}"/>
              </a:ext>
            </a:extLst>
          </p:cNvPr>
          <p:cNvSpPr txBox="1"/>
          <p:nvPr/>
        </p:nvSpPr>
        <p:spPr>
          <a:xfrm>
            <a:off x="53650" y="1185073"/>
            <a:ext cx="10692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/>
              <a:t>Rapidly growing market, with </a:t>
            </a:r>
            <a:r>
              <a:rPr lang="en-IN" sz="1400" b="1"/>
              <a:t>45 %</a:t>
            </a:r>
            <a:r>
              <a:rPr lang="en-IN" sz="1400"/>
              <a:t> falling in this category by 20</a:t>
            </a:r>
            <a:r>
              <a:rPr lang="en-IN" sz="1400" b="1"/>
              <a:t>30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C7CECF8C-FB0B-CB8E-8EB4-C57DD9641504}"/>
              </a:ext>
            </a:extLst>
          </p:cNvPr>
          <p:cNvSpPr/>
          <p:nvPr/>
        </p:nvSpPr>
        <p:spPr>
          <a:xfrm>
            <a:off x="3198522" y="1327785"/>
            <a:ext cx="426722" cy="31475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ABE7F641-6A3D-9DEF-12EC-4A43D17FE3EC}"/>
              </a:ext>
            </a:extLst>
          </p:cNvPr>
          <p:cNvSpPr/>
          <p:nvPr/>
        </p:nvSpPr>
        <p:spPr>
          <a:xfrm>
            <a:off x="3198523" y="1860057"/>
            <a:ext cx="426721" cy="29437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D70CF2-CA85-CED4-0932-3F19371368E7}"/>
              </a:ext>
            </a:extLst>
          </p:cNvPr>
          <p:cNvSpPr txBox="1"/>
          <p:nvPr/>
        </p:nvSpPr>
        <p:spPr>
          <a:xfrm>
            <a:off x="3893153" y="1020311"/>
            <a:ext cx="1069236" cy="107721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  <a:prstDash val="dashDot"/>
          </a:ln>
        </p:spPr>
        <p:txBody>
          <a:bodyPr wrap="square" rtlCol="0">
            <a:spAutoFit/>
          </a:bodyPr>
          <a:lstStyle/>
          <a:p>
            <a:r>
              <a:rPr lang="en-IN" sz="1600"/>
              <a:t>Luxury and premium segment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6A02A45-45F1-2C26-BD80-6812B6B488BC}"/>
              </a:ext>
            </a:extLst>
          </p:cNvPr>
          <p:cNvSpPr txBox="1"/>
          <p:nvPr/>
        </p:nvSpPr>
        <p:spPr>
          <a:xfrm>
            <a:off x="3893153" y="2255797"/>
            <a:ext cx="1069236" cy="1323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  <a:prstDash val="dashDot"/>
          </a:ln>
        </p:spPr>
        <p:txBody>
          <a:bodyPr wrap="square" rtlCol="0">
            <a:spAutoFit/>
          </a:bodyPr>
          <a:lstStyle/>
          <a:p>
            <a:r>
              <a:rPr lang="en-IN" sz="1600"/>
              <a:t>Growing market, where ABI foray int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0EE285C-6224-50C1-910D-74C2DE992DF7}"/>
              </a:ext>
            </a:extLst>
          </p:cNvPr>
          <p:cNvSpPr txBox="1"/>
          <p:nvPr/>
        </p:nvSpPr>
        <p:spPr>
          <a:xfrm>
            <a:off x="277205" y="3669413"/>
            <a:ext cx="4685184" cy="769441"/>
          </a:xfrm>
          <a:prstGeom prst="rect">
            <a:avLst/>
          </a:prstGeom>
          <a:noFill/>
          <a:ln w="28575">
            <a:solidFill>
              <a:srgbClr val="D3A63C"/>
            </a:solidFill>
            <a:prstDash val="dash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The whiskey segment was the market's most lucrative in 2021, with total revenues of </a:t>
            </a:r>
            <a:r>
              <a:rPr lang="en-US" sz="1400" b="1">
                <a:solidFill>
                  <a:srgbClr val="002060"/>
                </a:solidFill>
              </a:rPr>
              <a:t>$23.7b, </a:t>
            </a:r>
            <a:r>
              <a:rPr lang="en-US" sz="1400">
                <a:solidFill>
                  <a:srgbClr val="002060"/>
                </a:solidFill>
              </a:rPr>
              <a:t>equivalent to </a:t>
            </a:r>
            <a:r>
              <a:rPr lang="en-US" sz="1400" b="1">
                <a:solidFill>
                  <a:srgbClr val="002060"/>
                </a:solidFill>
              </a:rPr>
              <a:t>61.6%</a:t>
            </a:r>
            <a:r>
              <a:rPr lang="en-US" sz="1400">
                <a:solidFill>
                  <a:srgbClr val="002060"/>
                </a:solidFill>
              </a:rPr>
              <a:t>of the market's overall value</a:t>
            </a:r>
            <a:r>
              <a:rPr lang="en-US" sz="1600"/>
              <a:t>. </a:t>
            </a:r>
            <a:endParaRPr lang="en-IN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2AFE793-2E77-A76C-7EC6-EC70B390A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45" y="4819059"/>
            <a:ext cx="3345671" cy="1926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ight Brace 24">
            <a:extLst>
              <a:ext uri="{FF2B5EF4-FFF2-40B4-BE49-F238E27FC236}">
                <a16:creationId xmlns:a16="http://schemas.microsoft.com/office/drawing/2014/main" id="{45B2EC43-709E-F7D1-8D6A-346249C5E6F6}"/>
              </a:ext>
            </a:extLst>
          </p:cNvPr>
          <p:cNvSpPr/>
          <p:nvPr/>
        </p:nvSpPr>
        <p:spPr>
          <a:xfrm rot="5400000">
            <a:off x="4238282" y="526114"/>
            <a:ext cx="243588" cy="8165742"/>
          </a:xfrm>
          <a:prstGeom prst="rightBrace">
            <a:avLst>
              <a:gd name="adj1" fmla="val 8333"/>
              <a:gd name="adj2" fmla="val 52657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sp>
        <p:nvSpPr>
          <p:cNvPr id="26" name="Title 5">
            <a:extLst>
              <a:ext uri="{FF2B5EF4-FFF2-40B4-BE49-F238E27FC236}">
                <a16:creationId xmlns:a16="http://schemas.microsoft.com/office/drawing/2014/main" id="{AD8B95A5-52BE-9858-9795-DB4CA77794F1}"/>
              </a:ext>
            </a:extLst>
          </p:cNvPr>
          <p:cNvSpPr txBox="1">
            <a:spLocks/>
          </p:cNvSpPr>
          <p:nvPr/>
        </p:nvSpPr>
        <p:spPr>
          <a:xfrm>
            <a:off x="10203" y="865158"/>
            <a:ext cx="7799156" cy="4558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 dirty="0">
                <a:solidFill>
                  <a:srgbClr val="D1A33C"/>
                </a:solidFill>
              </a:rPr>
              <a:t>The Market					Existing Players 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D1AED557-6A74-B611-E50B-05ECBD7E0C96}"/>
              </a:ext>
            </a:extLst>
          </p:cNvPr>
          <p:cNvSpPr/>
          <p:nvPr/>
        </p:nvSpPr>
        <p:spPr>
          <a:xfrm>
            <a:off x="4127286" y="5061748"/>
            <a:ext cx="4282995" cy="1628904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01010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People associate ABI as a brand for the young only, whiskey is age agnostic. Opportunity to cut through 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i="1">
                <a:solidFill>
                  <a:schemeClr val="tx1"/>
                </a:solidFill>
              </a:rPr>
              <a:t>Whiskey is associated with celebration, gathering, achievement, smooth tas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i="1">
                <a:solidFill>
                  <a:schemeClr val="tx1"/>
                </a:solidFill>
              </a:rPr>
              <a:t>Rise in preference for Indigenously made spirit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3EF0F4B-F0CD-7A61-BAEB-DCC25F4B3E2D}"/>
              </a:ext>
            </a:extLst>
          </p:cNvPr>
          <p:cNvSpPr/>
          <p:nvPr/>
        </p:nvSpPr>
        <p:spPr>
          <a:xfrm>
            <a:off x="9126427" y="4321022"/>
            <a:ext cx="1516734" cy="1516734"/>
          </a:xfrm>
          <a:prstGeom prst="ellipse">
            <a:avLst/>
          </a:prstGeom>
          <a:solidFill>
            <a:schemeClr val="accent1">
              <a:alpha val="26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chemeClr val="tx1"/>
                </a:solidFill>
              </a:rPr>
              <a:t>Untapped market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3B713ED-7494-3E88-9A67-B5D543CB08F4}"/>
              </a:ext>
            </a:extLst>
          </p:cNvPr>
          <p:cNvSpPr/>
          <p:nvPr/>
        </p:nvSpPr>
        <p:spPr>
          <a:xfrm>
            <a:off x="10258757" y="4321022"/>
            <a:ext cx="1516734" cy="1516734"/>
          </a:xfrm>
          <a:prstGeom prst="ellipse">
            <a:avLst/>
          </a:prstGeom>
          <a:solidFill>
            <a:srgbClr val="FFC000">
              <a:alpha val="59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>
                <a:solidFill>
                  <a:schemeClr val="tx1"/>
                </a:solidFill>
              </a:rPr>
              <a:t> Consumer preference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392F5B67-A170-309E-DC85-2FB374068860}"/>
              </a:ext>
            </a:extLst>
          </p:cNvPr>
          <p:cNvSpPr/>
          <p:nvPr/>
        </p:nvSpPr>
        <p:spPr>
          <a:xfrm>
            <a:off x="9700121" y="5203380"/>
            <a:ext cx="1516734" cy="1516734"/>
          </a:xfrm>
          <a:prstGeom prst="ellipse">
            <a:avLst/>
          </a:prstGeom>
          <a:solidFill>
            <a:srgbClr val="E7C620">
              <a:alpha val="6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>
              <a:solidFill>
                <a:schemeClr val="tx1"/>
              </a:solidFill>
            </a:endParaRPr>
          </a:p>
          <a:p>
            <a:pPr algn="ctr"/>
            <a:r>
              <a:rPr lang="en-IN" sz="1400">
                <a:solidFill>
                  <a:schemeClr val="tx1"/>
                </a:solidFill>
              </a:rPr>
              <a:t>communit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38E3FA3-9844-EA7D-74F1-280C929258D8}"/>
              </a:ext>
            </a:extLst>
          </p:cNvPr>
          <p:cNvSpPr txBox="1"/>
          <p:nvPr/>
        </p:nvSpPr>
        <p:spPr>
          <a:xfrm>
            <a:off x="10247200" y="2990981"/>
            <a:ext cx="205381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b="1">
                <a:solidFill>
                  <a:srgbClr val="FF0000"/>
                </a:solidFill>
              </a:rPr>
              <a:t>What is the next big thing?.........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A22F120-D624-A1E8-F7DA-DBEBF6CEA43C}"/>
              </a:ext>
            </a:extLst>
          </p:cNvPr>
          <p:cNvSpPr txBox="1"/>
          <p:nvPr/>
        </p:nvSpPr>
        <p:spPr>
          <a:xfrm>
            <a:off x="192486" y="452176"/>
            <a:ext cx="11674617" cy="3385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>
                <a:solidFill>
                  <a:srgbClr val="FF0000"/>
                </a:solidFill>
              </a:rPr>
              <a:t>Whisky is a growing market in India, and is currently untapped market by ABI, making an exciting proposition…</a:t>
            </a:r>
          </a:p>
        </p:txBody>
      </p:sp>
      <p:pic>
        <p:nvPicPr>
          <p:cNvPr id="2" name="Picture 1" descr="A drawing of a mountain with a river in the distance&#10;&#10;Description automatically generated">
            <a:extLst>
              <a:ext uri="{FF2B5EF4-FFF2-40B4-BE49-F238E27FC236}">
                <a16:creationId xmlns:a16="http://schemas.microsoft.com/office/drawing/2014/main" id="{CEF8916A-76C1-E51B-A4C6-03F065EF195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74" y="26398"/>
            <a:ext cx="365548" cy="365548"/>
          </a:xfrm>
          <a:prstGeom prst="rect">
            <a:avLst/>
          </a:prstGeom>
        </p:spPr>
      </p:pic>
      <p:pic>
        <p:nvPicPr>
          <p:cNvPr id="15" name="Picture 2" descr="Glenfiddich Logo, symbol, meaning, history, PNG, brand">
            <a:extLst>
              <a:ext uri="{FF2B5EF4-FFF2-40B4-BE49-F238E27FC236}">
                <a16:creationId xmlns:a16="http://schemas.microsoft.com/office/drawing/2014/main" id="{187D2B32-D96C-2EE4-CE67-AA7F33EDE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0094" y="1231270"/>
            <a:ext cx="867212" cy="425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Chivas Logo, symbol, meaning, history, PNG, brand">
            <a:extLst>
              <a:ext uri="{FF2B5EF4-FFF2-40B4-BE49-F238E27FC236}">
                <a16:creationId xmlns:a16="http://schemas.microsoft.com/office/drawing/2014/main" id="{1BFF8DB9-E4CB-DFF7-F166-652115030B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7511" y="2176627"/>
            <a:ext cx="803642" cy="394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Macallan logo download in SVG vector format or in PNG format">
            <a:extLst>
              <a:ext uri="{FF2B5EF4-FFF2-40B4-BE49-F238E27FC236}">
                <a16:creationId xmlns:a16="http://schemas.microsoft.com/office/drawing/2014/main" id="{2DD81DF6-1296-0E8E-D223-F4810A8DB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964" y="1509877"/>
            <a:ext cx="867613" cy="425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Amrut 6 Year (2014) for Whisky Neat — Whiskery Turnip ...">
            <a:extLst>
              <a:ext uri="{FF2B5EF4-FFF2-40B4-BE49-F238E27FC236}">
                <a16:creationId xmlns:a16="http://schemas.microsoft.com/office/drawing/2014/main" id="{CEA3C855-7CC9-58CC-FF5C-39DA8EC732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1009" y="1473398"/>
            <a:ext cx="973632" cy="600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Paul John Whisky - The Great Indian Single Malt from Goa, India">
            <a:extLst>
              <a:ext uri="{FF2B5EF4-FFF2-40B4-BE49-F238E27FC236}">
                <a16:creationId xmlns:a16="http://schemas.microsoft.com/office/drawing/2014/main" id="{F617E896-7CF5-5329-AF80-6D25C43711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332" y="1249642"/>
            <a:ext cx="714168" cy="530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Officer's Choice Brand Value &amp; Company Profile | Brandirectory">
            <a:extLst>
              <a:ext uri="{FF2B5EF4-FFF2-40B4-BE49-F238E27FC236}">
                <a16:creationId xmlns:a16="http://schemas.microsoft.com/office/drawing/2014/main" id="{B84B95E3-3537-55D9-D804-6294401C21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1500" y="2710701"/>
            <a:ext cx="1403832" cy="692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8D1967A-048C-01A7-22A1-EA5016BB1E14}"/>
              </a:ext>
            </a:extLst>
          </p:cNvPr>
          <p:cNvCxnSpPr>
            <a:cxnSpLocks/>
          </p:cNvCxnSpPr>
          <p:nvPr/>
        </p:nvCxnSpPr>
        <p:spPr>
          <a:xfrm>
            <a:off x="7891694" y="910884"/>
            <a:ext cx="0" cy="3696165"/>
          </a:xfrm>
          <a:prstGeom prst="straightConnector1">
            <a:avLst/>
          </a:prstGeom>
          <a:ln w="38100">
            <a:solidFill>
              <a:srgbClr val="0101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4" descr="Blenders Pride | Pernod Ricard">
            <a:extLst>
              <a:ext uri="{FF2B5EF4-FFF2-40B4-BE49-F238E27FC236}">
                <a16:creationId xmlns:a16="http://schemas.microsoft.com/office/drawing/2014/main" id="{24FF55FC-8A07-2C6D-1BD1-53002E6B7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4452" y="3197455"/>
            <a:ext cx="1403831" cy="612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CB9A84D-83F5-838F-7B6F-11958A7603A0}"/>
              </a:ext>
            </a:extLst>
          </p:cNvPr>
          <p:cNvCxnSpPr>
            <a:cxnSpLocks/>
          </p:cNvCxnSpPr>
          <p:nvPr/>
        </p:nvCxnSpPr>
        <p:spPr>
          <a:xfrm>
            <a:off x="5234452" y="2629080"/>
            <a:ext cx="4746285" cy="15911"/>
          </a:xfrm>
          <a:prstGeom prst="straightConnector1">
            <a:avLst/>
          </a:prstGeom>
          <a:ln w="38100">
            <a:solidFill>
              <a:srgbClr val="01010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The Glenlivet Logo - WhiskyFlavour">
            <a:extLst>
              <a:ext uri="{FF2B5EF4-FFF2-40B4-BE49-F238E27FC236}">
                <a16:creationId xmlns:a16="http://schemas.microsoft.com/office/drawing/2014/main" id="{C7A32A75-D786-EC13-400A-E6AE64D29B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9511" y="1682726"/>
            <a:ext cx="789486" cy="563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lack &amp; White Logo PNG Vector (CDR) Free Download">
            <a:extLst>
              <a:ext uri="{FF2B5EF4-FFF2-40B4-BE49-F238E27FC236}">
                <a16:creationId xmlns:a16="http://schemas.microsoft.com/office/drawing/2014/main" id="{22445B12-791D-4EF2-3DEE-E2221A41E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3132" y="3759736"/>
            <a:ext cx="641839" cy="692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Jameson Logo, symbol, meaning, history, PNG, brand">
            <a:extLst>
              <a:ext uri="{FF2B5EF4-FFF2-40B4-BE49-F238E27FC236}">
                <a16:creationId xmlns:a16="http://schemas.microsoft.com/office/drawing/2014/main" id="{04823271-E59E-479F-58BA-D29927AAAC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85209" y="685979"/>
            <a:ext cx="91551" cy="51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Ballantine's Logo and symbol, meaning, history, PNG, brand">
            <a:extLst>
              <a:ext uri="{FF2B5EF4-FFF2-40B4-BE49-F238E27FC236}">
                <a16:creationId xmlns:a16="http://schemas.microsoft.com/office/drawing/2014/main" id="{85CF9171-3947-BBEA-3C9D-37361BE6BE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330" y="3326650"/>
            <a:ext cx="1032150" cy="580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Whisky Flavour Blog: Jameson - The Taste Of Irish Whiskey">
            <a:extLst>
              <a:ext uri="{FF2B5EF4-FFF2-40B4-BE49-F238E27FC236}">
                <a16:creationId xmlns:a16="http://schemas.microsoft.com/office/drawing/2014/main" id="{D740110C-7BDE-0C51-F702-24D8997DA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5124" y="2781457"/>
            <a:ext cx="1032150" cy="655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Royal Stag Live It Large - YouTube">
            <a:extLst>
              <a:ext uri="{FF2B5EF4-FFF2-40B4-BE49-F238E27FC236}">
                <a16:creationId xmlns:a16="http://schemas.microsoft.com/office/drawing/2014/main" id="{F19E889C-1B98-70EA-F10A-F1D166FDEF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5467" y="3880187"/>
            <a:ext cx="694164" cy="694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McDowell's No.1 Logo and Tagline - Slogan - Owner">
            <a:extLst>
              <a:ext uri="{FF2B5EF4-FFF2-40B4-BE49-F238E27FC236}">
                <a16:creationId xmlns:a16="http://schemas.microsoft.com/office/drawing/2014/main" id="{94FB6729-1410-0A9F-B287-2588D0C848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1251" y="3276068"/>
            <a:ext cx="786690" cy="786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Whiskey Signature McDowell's No.1 Scotch whisky Antiquity, pichkari, label,  logo, united Spirits png | PNGWing">
            <a:extLst>
              <a:ext uri="{FF2B5EF4-FFF2-40B4-BE49-F238E27FC236}">
                <a16:creationId xmlns:a16="http://schemas.microsoft.com/office/drawing/2014/main" id="{CB896F33-F8A2-57F6-29B5-5ACD3B0AA3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35" t="13141" r="6930" b="50950"/>
          <a:stretch/>
        </p:blipFill>
        <p:spPr bwMode="auto">
          <a:xfrm>
            <a:off x="5444256" y="2673975"/>
            <a:ext cx="1219002" cy="51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Vat 69 Logo and Tagline - Slogan - Manufacturer - Country of origin">
            <a:extLst>
              <a:ext uri="{FF2B5EF4-FFF2-40B4-BE49-F238E27FC236}">
                <a16:creationId xmlns:a16="http://schemas.microsoft.com/office/drawing/2014/main" id="{E32230DC-216A-A530-BEA7-823479970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8768" y="2974383"/>
            <a:ext cx="910972" cy="500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Black Dog Scotch Whisky - Wikipedia">
            <a:extLst>
              <a:ext uri="{FF2B5EF4-FFF2-40B4-BE49-F238E27FC236}">
                <a16:creationId xmlns:a16="http://schemas.microsoft.com/office/drawing/2014/main" id="{AE26AC9B-DF2A-3620-DFFE-7F4E2BCD2D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8918" y="3822778"/>
            <a:ext cx="1277955" cy="459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224BEB63-529C-F097-50AD-DB3CA2A04DEC}"/>
              </a:ext>
            </a:extLst>
          </p:cNvPr>
          <p:cNvSpPr/>
          <p:nvPr/>
        </p:nvSpPr>
        <p:spPr>
          <a:xfrm>
            <a:off x="6579112" y="1346786"/>
            <a:ext cx="1203995" cy="1180845"/>
          </a:xfrm>
          <a:prstGeom prst="ellipse">
            <a:avLst/>
          </a:prstGeom>
          <a:solidFill>
            <a:schemeClr val="bg2"/>
          </a:solidFill>
          <a:ln w="28575">
            <a:solidFill>
              <a:srgbClr val="00206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43AAFF85-70AB-7499-F427-8718DCB42212}"/>
              </a:ext>
            </a:extLst>
          </p:cNvPr>
          <p:cNvCxnSpPr>
            <a:cxnSpLocks/>
          </p:cNvCxnSpPr>
          <p:nvPr/>
        </p:nvCxnSpPr>
        <p:spPr>
          <a:xfrm flipV="1">
            <a:off x="7181109" y="1074930"/>
            <a:ext cx="2399606" cy="473006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5D6FF44-0835-6BE4-372D-E510C74339F2}"/>
              </a:ext>
            </a:extLst>
          </p:cNvPr>
          <p:cNvSpPr txBox="1"/>
          <p:nvPr/>
        </p:nvSpPr>
        <p:spPr>
          <a:xfrm>
            <a:off x="10186203" y="807998"/>
            <a:ext cx="1747996" cy="1169551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IN" sz="1400" b="1">
                <a:solidFill>
                  <a:srgbClr val="15163A"/>
                </a:solidFill>
              </a:rPr>
              <a:t>Blue ocean strategy- </a:t>
            </a:r>
            <a:r>
              <a:rPr lang="en-IN" sz="1400"/>
              <a:t>we play here, premium and Indigenous segment 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8C31FEF-67FA-C6AB-B6E9-FC413C07AE87}"/>
              </a:ext>
            </a:extLst>
          </p:cNvPr>
          <p:cNvSpPr txBox="1"/>
          <p:nvPr/>
        </p:nvSpPr>
        <p:spPr>
          <a:xfrm>
            <a:off x="9113976" y="2367992"/>
            <a:ext cx="856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/>
              <a:t>Foreign</a:t>
            </a:r>
            <a:r>
              <a:rPr lang="en-IN" sz="1100"/>
              <a:t>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1C45FE7-A61B-A212-7CC7-203A385FF34E}"/>
              </a:ext>
            </a:extLst>
          </p:cNvPr>
          <p:cNvSpPr txBox="1"/>
          <p:nvPr/>
        </p:nvSpPr>
        <p:spPr>
          <a:xfrm>
            <a:off x="5370127" y="2367992"/>
            <a:ext cx="1345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Indian</a:t>
            </a:r>
            <a:r>
              <a:rPr lang="en-IN" sz="1100"/>
              <a:t>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0A23C0D-883D-0DC3-8AE8-171CDEADA76D}"/>
              </a:ext>
            </a:extLst>
          </p:cNvPr>
          <p:cNvSpPr txBox="1"/>
          <p:nvPr/>
        </p:nvSpPr>
        <p:spPr>
          <a:xfrm>
            <a:off x="7866431" y="790218"/>
            <a:ext cx="13451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/>
              <a:t>Premium</a:t>
            </a:r>
            <a:r>
              <a:rPr lang="en-IN" sz="1100"/>
              <a:t>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74EF22B-E046-7709-1C95-27E6854C29D7}"/>
              </a:ext>
            </a:extLst>
          </p:cNvPr>
          <p:cNvSpPr txBox="1"/>
          <p:nvPr/>
        </p:nvSpPr>
        <p:spPr>
          <a:xfrm>
            <a:off x="7917442" y="4442523"/>
            <a:ext cx="13451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/>
              <a:t>Value</a:t>
            </a:r>
            <a:r>
              <a:rPr lang="en-IN" sz="1100" b="1"/>
              <a:t> </a:t>
            </a:r>
            <a:endParaRPr lang="en-IN" sz="110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82D6392-FDD5-577C-7950-BC251DF31805}"/>
              </a:ext>
            </a:extLst>
          </p:cNvPr>
          <p:cNvSpPr txBox="1"/>
          <p:nvPr/>
        </p:nvSpPr>
        <p:spPr>
          <a:xfrm>
            <a:off x="10186203" y="1981673"/>
            <a:ext cx="1747996" cy="738664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IN" sz="1400" b="1"/>
              <a:t>Growing market </a:t>
            </a:r>
            <a:r>
              <a:rPr lang="en-IN" sz="1400"/>
              <a:t>with the increasing rich</a:t>
            </a:r>
          </a:p>
        </p:txBody>
      </p:sp>
      <p:sp>
        <p:nvSpPr>
          <p:cNvPr id="1024" name="Plus Sign 1023">
            <a:extLst>
              <a:ext uri="{FF2B5EF4-FFF2-40B4-BE49-F238E27FC236}">
                <a16:creationId xmlns:a16="http://schemas.microsoft.com/office/drawing/2014/main" id="{0BFC1DE1-21ED-CE80-5086-44C3055A91D7}"/>
              </a:ext>
            </a:extLst>
          </p:cNvPr>
          <p:cNvSpPr/>
          <p:nvPr/>
        </p:nvSpPr>
        <p:spPr>
          <a:xfrm>
            <a:off x="4928687" y="2624554"/>
            <a:ext cx="476699" cy="476699"/>
          </a:xfrm>
          <a:prstGeom prst="mathPlus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1DB7542C-A9D2-0055-CF49-FFD24FDA7AAC}"/>
              </a:ext>
            </a:extLst>
          </p:cNvPr>
          <p:cNvSpPr txBox="1"/>
          <p:nvPr/>
        </p:nvSpPr>
        <p:spPr>
          <a:xfrm>
            <a:off x="173617" y="4621559"/>
            <a:ext cx="27558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>
                <a:solidFill>
                  <a:srgbClr val="15163A"/>
                </a:solidFill>
              </a:rPr>
              <a:t>Whiskey revenue in India</a:t>
            </a:r>
          </a:p>
        </p:txBody>
      </p:sp>
      <p:sp>
        <p:nvSpPr>
          <p:cNvPr id="51" name="Title 5">
            <a:extLst>
              <a:ext uri="{FF2B5EF4-FFF2-40B4-BE49-F238E27FC236}">
                <a16:creationId xmlns:a16="http://schemas.microsoft.com/office/drawing/2014/main" id="{13F26D17-E8B1-6E64-3FFC-BBB7FD7BA23A}"/>
              </a:ext>
            </a:extLst>
          </p:cNvPr>
          <p:cNvSpPr txBox="1">
            <a:spLocks/>
          </p:cNvSpPr>
          <p:nvPr/>
        </p:nvSpPr>
        <p:spPr>
          <a:xfrm>
            <a:off x="10127274" y="3809950"/>
            <a:ext cx="2053818" cy="3872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>
                <a:solidFill>
                  <a:srgbClr val="D1A33C"/>
                </a:solidFill>
              </a:rPr>
              <a:t>Where We Play?</a:t>
            </a:r>
          </a:p>
        </p:txBody>
      </p:sp>
      <p:sp>
        <p:nvSpPr>
          <p:cNvPr id="53" name="Title 5">
            <a:extLst>
              <a:ext uri="{FF2B5EF4-FFF2-40B4-BE49-F238E27FC236}">
                <a16:creationId xmlns:a16="http://schemas.microsoft.com/office/drawing/2014/main" id="{2E43604A-BD98-9F4C-A3C6-05232FA81272}"/>
              </a:ext>
            </a:extLst>
          </p:cNvPr>
          <p:cNvSpPr txBox="1">
            <a:spLocks/>
          </p:cNvSpPr>
          <p:nvPr/>
        </p:nvSpPr>
        <p:spPr>
          <a:xfrm>
            <a:off x="5335579" y="4686149"/>
            <a:ext cx="2658518" cy="3872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 dirty="0">
                <a:solidFill>
                  <a:srgbClr val="D1A33C"/>
                </a:solidFill>
              </a:rPr>
              <a:t>Current Associations</a:t>
            </a:r>
          </a:p>
        </p:txBody>
      </p:sp>
    </p:spTree>
    <p:extLst>
      <p:ext uri="{BB962C8B-B14F-4D97-AF65-F5344CB8AC3E}">
        <p14:creationId xmlns:p14="http://schemas.microsoft.com/office/powerpoint/2010/main" val="2646238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13ECC3-77B8-154B-92B9-557532147F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34123" y="6260307"/>
            <a:ext cx="529428" cy="236678"/>
          </a:xfrm>
        </p:spPr>
        <p:txBody>
          <a:bodyPr/>
          <a:lstStyle/>
          <a:p>
            <a:fld id="{99E61589-955B-3549-AD19-CD847E0672FB}" type="slidenum">
              <a:rPr lang="en-US" sz="1400" smtClean="0"/>
              <a:pPr/>
              <a:t>3</a:t>
            </a:fld>
            <a:endParaRPr lang="en-US" sz="14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A6AED2-38AC-E9F6-AD77-80833C326633}"/>
              </a:ext>
            </a:extLst>
          </p:cNvPr>
          <p:cNvSpPr txBox="1"/>
          <p:nvPr/>
        </p:nvSpPr>
        <p:spPr>
          <a:xfrm>
            <a:off x="342420" y="517185"/>
            <a:ext cx="11540970" cy="3385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>
                <a:solidFill>
                  <a:srgbClr val="FF0000"/>
                </a:solidFill>
              </a:rPr>
              <a:t>NE provides perfect synergy &amp; landscape to launch </a:t>
            </a:r>
            <a:r>
              <a:rPr lang="en-IN" sz="1600" b="1" err="1">
                <a:solidFill>
                  <a:srgbClr val="FF0000"/>
                </a:solidFill>
              </a:rPr>
              <a:t>ABInBev</a:t>
            </a:r>
            <a:r>
              <a:rPr lang="en-IN" sz="1600" b="1">
                <a:solidFill>
                  <a:srgbClr val="FF0000"/>
                </a:solidFill>
              </a:rPr>
              <a:t> in premium whisky market, all while giving back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D5C8D8B7-F3D3-B843-6D40-58288D5011E8}"/>
              </a:ext>
            </a:extLst>
          </p:cNvPr>
          <p:cNvSpPr txBox="1">
            <a:spLocks/>
          </p:cNvSpPr>
          <p:nvPr/>
        </p:nvSpPr>
        <p:spPr>
          <a:xfrm>
            <a:off x="286545" y="868728"/>
            <a:ext cx="11506351" cy="6480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 err="1">
                <a:solidFill>
                  <a:srgbClr val="D1A33C"/>
                </a:solidFill>
              </a:rPr>
              <a:t>ABInBev</a:t>
            </a:r>
            <a:r>
              <a:rPr lang="en-US" sz="1800">
                <a:solidFill>
                  <a:srgbClr val="D1A33C"/>
                </a:solidFill>
              </a:rPr>
              <a:t> Values</a:t>
            </a:r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7C23304B-53C3-13D5-030D-09FFED77855B}"/>
              </a:ext>
            </a:extLst>
          </p:cNvPr>
          <p:cNvSpPr txBox="1">
            <a:spLocks/>
          </p:cNvSpPr>
          <p:nvPr/>
        </p:nvSpPr>
        <p:spPr>
          <a:xfrm>
            <a:off x="5836777" y="873099"/>
            <a:ext cx="3777474" cy="6480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 dirty="0">
                <a:solidFill>
                  <a:srgbClr val="D1A33C"/>
                </a:solidFill>
              </a:rPr>
              <a:t>Why North-East and East? </a:t>
            </a:r>
          </a:p>
        </p:txBody>
      </p:sp>
      <p:pic>
        <p:nvPicPr>
          <p:cNvPr id="7174" name="Picture 6" descr="Lau Pani/Sulai (local alcohol ) kills... - Assam অসম { Axom } | Facebook">
            <a:extLst>
              <a:ext uri="{FF2B5EF4-FFF2-40B4-BE49-F238E27FC236}">
                <a16:creationId xmlns:a16="http://schemas.microsoft.com/office/drawing/2014/main" id="{34E98798-B31E-80C9-1407-8556E3A66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1675" y="1003513"/>
            <a:ext cx="1010315" cy="756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B10B55C-BD5B-231E-7774-4990E63715E7}"/>
              </a:ext>
            </a:extLst>
          </p:cNvPr>
          <p:cNvSpPr txBox="1"/>
          <p:nvPr/>
        </p:nvSpPr>
        <p:spPr>
          <a:xfrm>
            <a:off x="10922616" y="1723143"/>
            <a:ext cx="1834587" cy="343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 err="1"/>
              <a:t>Sulai</a:t>
            </a:r>
            <a:r>
              <a:rPr lang="en-IN" sz="1400" i="1"/>
              <a:t>, Assam</a:t>
            </a:r>
          </a:p>
        </p:txBody>
      </p:sp>
      <p:pic>
        <p:nvPicPr>
          <p:cNvPr id="7176" name="Picture 8" descr="Meghalaya, Sikkim's ethnic alcohol drinks could be the next big thing!">
            <a:extLst>
              <a:ext uri="{FF2B5EF4-FFF2-40B4-BE49-F238E27FC236}">
                <a16:creationId xmlns:a16="http://schemas.microsoft.com/office/drawing/2014/main" id="{5BAB79DB-B8C7-FADF-77E5-BF4C240D86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1675" y="2207714"/>
            <a:ext cx="1000300" cy="65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FC881F5-0723-1AA8-B631-0D02046FB5B3}"/>
              </a:ext>
            </a:extLst>
          </p:cNvPr>
          <p:cNvSpPr txBox="1"/>
          <p:nvPr/>
        </p:nvSpPr>
        <p:spPr>
          <a:xfrm>
            <a:off x="11020080" y="2865235"/>
            <a:ext cx="11587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 err="1"/>
              <a:t>Kiad</a:t>
            </a:r>
            <a:r>
              <a:rPr lang="en-IN" sz="1400" i="1"/>
              <a:t>, Meghalaya</a:t>
            </a:r>
          </a:p>
        </p:txBody>
      </p:sp>
      <p:pic>
        <p:nvPicPr>
          <p:cNvPr id="7178" name="Picture 10" descr="Mizoram's grape farmers outraged over seizure of locally-made wine">
            <a:extLst>
              <a:ext uri="{FF2B5EF4-FFF2-40B4-BE49-F238E27FC236}">
                <a16:creationId xmlns:a16="http://schemas.microsoft.com/office/drawing/2014/main" id="{0673F7D6-52DD-2E34-775C-72A163FE84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7844" y="3388455"/>
            <a:ext cx="1024131" cy="768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5A0D466-0D75-923A-7990-BBB507433C77}"/>
              </a:ext>
            </a:extLst>
          </p:cNvPr>
          <p:cNvSpPr txBox="1"/>
          <p:nvPr/>
        </p:nvSpPr>
        <p:spPr>
          <a:xfrm>
            <a:off x="10972016" y="4137566"/>
            <a:ext cx="1834587" cy="583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 err="1"/>
              <a:t>Champwine</a:t>
            </a:r>
            <a:r>
              <a:rPr lang="en-IN" sz="1400" i="1"/>
              <a:t>,</a:t>
            </a:r>
          </a:p>
          <a:p>
            <a:r>
              <a:rPr lang="en-IN" sz="1400" i="1"/>
              <a:t>Mizoram</a:t>
            </a:r>
          </a:p>
        </p:txBody>
      </p:sp>
      <p:pic>
        <p:nvPicPr>
          <p:cNvPr id="7180" name="Picture 12" descr="Move over beer! Govt to bottle and sell traditional tribal drink Mahua from  Bastar - BusinessToday">
            <a:extLst>
              <a:ext uri="{FF2B5EF4-FFF2-40B4-BE49-F238E27FC236}">
                <a16:creationId xmlns:a16="http://schemas.microsoft.com/office/drawing/2014/main" id="{C7E611E3-848B-B41F-DE4D-501E2650C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5390" y="4706741"/>
            <a:ext cx="1009643" cy="767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C80ECC3-D13C-ECC4-2DBA-E1E2FF9F34D9}"/>
              </a:ext>
            </a:extLst>
          </p:cNvPr>
          <p:cNvSpPr txBox="1"/>
          <p:nvPr/>
        </p:nvSpPr>
        <p:spPr>
          <a:xfrm>
            <a:off x="11128386" y="5714151"/>
            <a:ext cx="12242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/>
              <a:t>Mahua, </a:t>
            </a:r>
            <a:r>
              <a:rPr lang="en-IN" sz="1400" i="1" err="1"/>
              <a:t>Chattisgarh</a:t>
            </a:r>
            <a:r>
              <a:rPr lang="en-IN" sz="1400" i="1"/>
              <a:t> and Jharkhand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8A68BB-028A-66E5-3B0A-E7A78E8D9C52}"/>
              </a:ext>
            </a:extLst>
          </p:cNvPr>
          <p:cNvSpPr txBox="1"/>
          <p:nvPr/>
        </p:nvSpPr>
        <p:spPr>
          <a:xfrm>
            <a:off x="188644" y="1191638"/>
            <a:ext cx="54821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/>
          </a:p>
        </p:txBody>
      </p:sp>
      <p:sp>
        <p:nvSpPr>
          <p:cNvPr id="22" name="Plus Sign 21">
            <a:extLst>
              <a:ext uri="{FF2B5EF4-FFF2-40B4-BE49-F238E27FC236}">
                <a16:creationId xmlns:a16="http://schemas.microsoft.com/office/drawing/2014/main" id="{21568EAD-BEB4-045C-5BD7-7325988011F2}"/>
              </a:ext>
            </a:extLst>
          </p:cNvPr>
          <p:cNvSpPr/>
          <p:nvPr/>
        </p:nvSpPr>
        <p:spPr>
          <a:xfrm>
            <a:off x="2425395" y="2532095"/>
            <a:ext cx="476699" cy="476699"/>
          </a:xfrm>
          <a:prstGeom prst="mathPlus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61961DA-E56D-C8AD-D9BC-D34BE13E703F}"/>
              </a:ext>
            </a:extLst>
          </p:cNvPr>
          <p:cNvSpPr/>
          <p:nvPr/>
        </p:nvSpPr>
        <p:spPr>
          <a:xfrm>
            <a:off x="342824" y="1256712"/>
            <a:ext cx="4982534" cy="1331717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Serves as an engine for economic growth, sustainable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The organisation thrives when communities thr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Never takes shortcu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Leader for change and innovate for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solidFill>
                  <a:schemeClr val="tx1"/>
                </a:solidFill>
              </a:rPr>
              <a:t>The organisation dreams big</a:t>
            </a:r>
          </a:p>
        </p:txBody>
      </p:sp>
      <p:sp>
        <p:nvSpPr>
          <p:cNvPr id="28" name="Equals 27">
            <a:extLst>
              <a:ext uri="{FF2B5EF4-FFF2-40B4-BE49-F238E27FC236}">
                <a16:creationId xmlns:a16="http://schemas.microsoft.com/office/drawing/2014/main" id="{6967A4D5-CD86-9AC1-53D9-7F4C371349AA}"/>
              </a:ext>
            </a:extLst>
          </p:cNvPr>
          <p:cNvSpPr/>
          <p:nvPr/>
        </p:nvSpPr>
        <p:spPr>
          <a:xfrm>
            <a:off x="5403028" y="2476531"/>
            <a:ext cx="535446" cy="533400"/>
          </a:xfrm>
          <a:prstGeom prst="mathEqual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E47BBE1-6859-E49C-5C17-B7E83EE9D04D}"/>
              </a:ext>
            </a:extLst>
          </p:cNvPr>
          <p:cNvSpPr/>
          <p:nvPr/>
        </p:nvSpPr>
        <p:spPr>
          <a:xfrm>
            <a:off x="342824" y="2933793"/>
            <a:ext cx="4982534" cy="638568"/>
          </a:xfrm>
          <a:prstGeom prst="rect">
            <a:avLst/>
          </a:prstGeom>
          <a:noFill/>
          <a:ln w="28575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fontAlgn="base"/>
            <a:r>
              <a:rPr lang="en-IN" sz="1400" b="0" i="0" u="none" strike="noStrike">
                <a:solidFill>
                  <a:srgbClr val="000000"/>
                </a:solidFill>
                <a:effectLst/>
              </a:rPr>
              <a:t>Sustainable income source to farmers- steady stream of income. Farmers struggle in in N-E India due to the timeless prevalence of shifting cultivation.</a:t>
            </a:r>
            <a:r>
              <a:rPr lang="en-US" sz="1400" b="0" i="0">
                <a:solidFill>
                  <a:srgbClr val="000000"/>
                </a:solidFill>
                <a:effectLst/>
              </a:rPr>
              <a:t>​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0C96F84-0ACE-FB1D-D89C-E7F5C01CD3E7}"/>
              </a:ext>
            </a:extLst>
          </p:cNvPr>
          <p:cNvSpPr/>
          <p:nvPr/>
        </p:nvSpPr>
        <p:spPr>
          <a:xfrm>
            <a:off x="342824" y="3691791"/>
            <a:ext cx="4982534" cy="386952"/>
          </a:xfrm>
          <a:prstGeom prst="rect">
            <a:avLst/>
          </a:prstGeom>
          <a:noFill/>
          <a:ln w="28575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fontAlgn="base"/>
            <a:r>
              <a:rPr lang="en-IN" sz="1400" b="0" i="0" u="none" strike="noStrike">
                <a:solidFill>
                  <a:srgbClr val="000000"/>
                </a:solidFill>
                <a:effectLst/>
              </a:rPr>
              <a:t>Financially empower the last remaining matriarchal tribes by empowering them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5042749-6478-3472-17AC-1A05B601CC5E}"/>
              </a:ext>
            </a:extLst>
          </p:cNvPr>
          <p:cNvSpPr/>
          <p:nvPr/>
        </p:nvSpPr>
        <p:spPr>
          <a:xfrm>
            <a:off x="342824" y="4202502"/>
            <a:ext cx="4982534" cy="460274"/>
          </a:xfrm>
          <a:prstGeom prst="rect">
            <a:avLst/>
          </a:prstGeom>
          <a:noFill/>
          <a:ln w="28575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0" i="0" u="none" strike="noStrike">
                <a:solidFill>
                  <a:srgbClr val="000000"/>
                </a:solidFill>
                <a:effectLst/>
              </a:rPr>
              <a:t>Preserving the long-lost culture and intricate craftsmanship of traditional beverages and innovate to crafting distinctive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78FB9AF-E668-2916-3FAA-F55F740CFD15}"/>
              </a:ext>
            </a:extLst>
          </p:cNvPr>
          <p:cNvSpPr/>
          <p:nvPr/>
        </p:nvSpPr>
        <p:spPr>
          <a:xfrm>
            <a:off x="342419" y="4750562"/>
            <a:ext cx="4982534" cy="382909"/>
          </a:xfrm>
          <a:prstGeom prst="rect">
            <a:avLst/>
          </a:prstGeom>
          <a:noFill/>
          <a:ln w="28575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i="1">
                <a:solidFill>
                  <a:srgbClr val="000000"/>
                </a:solidFill>
              </a:rPr>
              <a:t>Learning from our tradition and roots- the art of brewing with fruits, herbs, and spices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F3F835E-0D9F-9A8B-BAAC-B6E7DED7C410}"/>
              </a:ext>
            </a:extLst>
          </p:cNvPr>
          <p:cNvSpPr/>
          <p:nvPr/>
        </p:nvSpPr>
        <p:spPr>
          <a:xfrm>
            <a:off x="342419" y="5284383"/>
            <a:ext cx="4982534" cy="412360"/>
          </a:xfrm>
          <a:prstGeom prst="rect">
            <a:avLst/>
          </a:prstGeom>
          <a:noFill/>
          <a:ln w="28575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fontAlgn="base"/>
            <a:r>
              <a:rPr lang="en-US" sz="1400">
                <a:solidFill>
                  <a:srgbClr val="000000"/>
                </a:solidFill>
              </a:rPr>
              <a:t>The plains of Bengal produce highest volume or rice in India</a:t>
            </a:r>
          </a:p>
          <a:p>
            <a:pPr algn="l" rtl="0" fontAlgn="base"/>
            <a:r>
              <a:rPr lang="en-US" sz="1400">
                <a:solidFill>
                  <a:srgbClr val="000000"/>
                </a:solidFill>
              </a:rPr>
              <a:t>The potential of NE is untapped  </a:t>
            </a:r>
            <a:endParaRPr lang="en-US" sz="1400" b="0" i="0">
              <a:solidFill>
                <a:srgbClr val="000000"/>
              </a:solidFill>
              <a:effectLst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F6F8C5A-1748-3C22-F22B-C31AD04537A8}"/>
              </a:ext>
            </a:extLst>
          </p:cNvPr>
          <p:cNvGrpSpPr/>
          <p:nvPr/>
        </p:nvGrpSpPr>
        <p:grpSpPr>
          <a:xfrm>
            <a:off x="5730147" y="1214352"/>
            <a:ext cx="5263167" cy="4348205"/>
            <a:chOff x="3667502" y="921025"/>
            <a:chExt cx="5263167" cy="4348205"/>
          </a:xfrm>
        </p:grpSpPr>
        <p:sp>
          <p:nvSpPr>
            <p:cNvPr id="40" name="Rounded Rectangle 2">
              <a:extLst>
                <a:ext uri="{FF2B5EF4-FFF2-40B4-BE49-F238E27FC236}">
                  <a16:creationId xmlns:a16="http://schemas.microsoft.com/office/drawing/2014/main" id="{60C13357-8CCC-5A62-2A43-741C171A69FC}"/>
                </a:ext>
              </a:extLst>
            </p:cNvPr>
            <p:cNvSpPr/>
            <p:nvPr/>
          </p:nvSpPr>
          <p:spPr>
            <a:xfrm>
              <a:off x="5095084" y="1684600"/>
              <a:ext cx="1236203" cy="387417"/>
            </a:xfrm>
            <a:prstGeom prst="roundRect">
              <a:avLst>
                <a:gd name="adj" fmla="val 11574"/>
              </a:avLst>
            </a:prstGeom>
            <a:solidFill>
              <a:schemeClr val="accent4">
                <a:lumMod val="5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Cost</a:t>
              </a:r>
            </a:p>
          </p:txBody>
        </p:sp>
        <p:sp>
          <p:nvSpPr>
            <p:cNvPr id="41" name="Rounded Rectangle 2">
              <a:extLst>
                <a:ext uri="{FF2B5EF4-FFF2-40B4-BE49-F238E27FC236}">
                  <a16:creationId xmlns:a16="http://schemas.microsoft.com/office/drawing/2014/main" id="{B7FA073E-2EEF-FB87-A136-CAC5207DCDFE}"/>
                </a:ext>
              </a:extLst>
            </p:cNvPr>
            <p:cNvSpPr/>
            <p:nvPr/>
          </p:nvSpPr>
          <p:spPr>
            <a:xfrm>
              <a:off x="6393508" y="1708522"/>
              <a:ext cx="1236203" cy="374481"/>
            </a:xfrm>
            <a:prstGeom prst="roundRect">
              <a:avLst>
                <a:gd name="adj" fmla="val 11574"/>
              </a:avLst>
            </a:prstGeom>
            <a:solidFill>
              <a:schemeClr val="accent4">
                <a:lumMod val="5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Capital</a:t>
              </a:r>
            </a:p>
          </p:txBody>
        </p:sp>
        <p:sp>
          <p:nvSpPr>
            <p:cNvPr id="42" name="Rounded Rectangle 2">
              <a:extLst>
                <a:ext uri="{FF2B5EF4-FFF2-40B4-BE49-F238E27FC236}">
                  <a16:creationId xmlns:a16="http://schemas.microsoft.com/office/drawing/2014/main" id="{AC684FD1-C091-0AB3-51AC-8F67DCFD20BB}"/>
                </a:ext>
              </a:extLst>
            </p:cNvPr>
            <p:cNvSpPr/>
            <p:nvPr/>
          </p:nvSpPr>
          <p:spPr>
            <a:xfrm>
              <a:off x="7593822" y="1708512"/>
              <a:ext cx="1315549" cy="374481"/>
            </a:xfrm>
            <a:prstGeom prst="roundRect">
              <a:avLst>
                <a:gd name="adj" fmla="val 11574"/>
              </a:avLst>
            </a:prstGeom>
            <a:solidFill>
              <a:schemeClr val="accent4">
                <a:lumMod val="5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Revenue</a:t>
              </a:r>
            </a:p>
          </p:txBody>
        </p:sp>
        <p:sp>
          <p:nvSpPr>
            <p:cNvPr id="43" name="Rounded Rectangle 2">
              <a:extLst>
                <a:ext uri="{FF2B5EF4-FFF2-40B4-BE49-F238E27FC236}">
                  <a16:creationId xmlns:a16="http://schemas.microsoft.com/office/drawing/2014/main" id="{F6734681-88C1-DBEC-352D-7E88AC324574}"/>
                </a:ext>
              </a:extLst>
            </p:cNvPr>
            <p:cNvSpPr/>
            <p:nvPr/>
          </p:nvSpPr>
          <p:spPr>
            <a:xfrm>
              <a:off x="5035917" y="2213522"/>
              <a:ext cx="1295371" cy="1390428"/>
            </a:xfrm>
            <a:prstGeom prst="roundRect">
              <a:avLst>
                <a:gd name="adj" fmla="val 11574"/>
              </a:avLst>
            </a:prstGeom>
            <a:solidFill>
              <a:srgbClr val="D3A63C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cs typeface="Arial" pitchFamily="34" charset="0"/>
                </a:rPr>
                <a:t>High initial customer acquisition cost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31B5CC5-8C0A-0CF5-B8DA-7D129AFD105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40859" y="2213522"/>
              <a:ext cx="20899" cy="3055708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8108CF0-3AB7-E606-6E2B-E5384F69FD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1280" y="3668292"/>
              <a:ext cx="5033508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18C86A0F-2C5F-BAD3-BE1D-99DFF7950AD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69360" y="5223055"/>
              <a:ext cx="5155428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7" name="Rounded Rectangle 2">
              <a:extLst>
                <a:ext uri="{FF2B5EF4-FFF2-40B4-BE49-F238E27FC236}">
                  <a16:creationId xmlns:a16="http://schemas.microsoft.com/office/drawing/2014/main" id="{9B061595-DBB9-4AC5-EDAA-A63CEAA45D9B}"/>
                </a:ext>
              </a:extLst>
            </p:cNvPr>
            <p:cNvSpPr/>
            <p:nvPr/>
          </p:nvSpPr>
          <p:spPr>
            <a:xfrm>
              <a:off x="6393508" y="2213522"/>
              <a:ext cx="1236203" cy="1390424"/>
            </a:xfrm>
            <a:prstGeom prst="roundRect">
              <a:avLst>
                <a:gd name="adj" fmla="val 11574"/>
              </a:avLst>
            </a:prstGeom>
            <a:solidFill>
              <a:srgbClr val="F3D71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Low capex investment due to existing </a:t>
              </a:r>
              <a:r>
                <a:rPr lang="en-IN" sz="1200">
                  <a:solidFill>
                    <a:srgbClr val="002060"/>
                  </a:solidFill>
                  <a:cs typeface="Arial" pitchFamily="34" charset="0"/>
                </a:rPr>
                <a:t>Budweiser magnum </a:t>
              </a: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Arial" pitchFamily="34" charset="0"/>
              </a:endParaRPr>
            </a:p>
          </p:txBody>
        </p:sp>
        <p:sp>
          <p:nvSpPr>
            <p:cNvPr id="48" name="Rounded Rectangle 2">
              <a:extLst>
                <a:ext uri="{FF2B5EF4-FFF2-40B4-BE49-F238E27FC236}">
                  <a16:creationId xmlns:a16="http://schemas.microsoft.com/office/drawing/2014/main" id="{34100513-FDB4-607F-B21E-7034C15CF7A9}"/>
                </a:ext>
              </a:extLst>
            </p:cNvPr>
            <p:cNvSpPr/>
            <p:nvPr/>
          </p:nvSpPr>
          <p:spPr>
            <a:xfrm>
              <a:off x="7688431" y="2225514"/>
              <a:ext cx="1236357" cy="1404041"/>
            </a:xfrm>
            <a:prstGeom prst="roundRect">
              <a:avLst>
                <a:gd name="adj" fmla="val 11574"/>
              </a:avLst>
            </a:prstGeom>
            <a:solidFill>
              <a:srgbClr val="D3A63C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New untapped market. Increase in revenue  </a:t>
              </a:r>
            </a:p>
          </p:txBody>
        </p:sp>
        <p:sp>
          <p:nvSpPr>
            <p:cNvPr id="49" name="Rounded Rectangle 2">
              <a:extLst>
                <a:ext uri="{FF2B5EF4-FFF2-40B4-BE49-F238E27FC236}">
                  <a16:creationId xmlns:a16="http://schemas.microsoft.com/office/drawing/2014/main" id="{4E538ED4-AB93-AD7B-3F4D-C39DCA2CB9AF}"/>
                </a:ext>
              </a:extLst>
            </p:cNvPr>
            <p:cNvSpPr/>
            <p:nvPr/>
          </p:nvSpPr>
          <p:spPr>
            <a:xfrm>
              <a:off x="5095085" y="3748636"/>
              <a:ext cx="1236202" cy="1391725"/>
            </a:xfrm>
            <a:prstGeom prst="roundRect">
              <a:avLst>
                <a:gd name="adj" fmla="val 11574"/>
              </a:avLst>
            </a:prstGeom>
            <a:solidFill>
              <a:srgbClr val="D3A63C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sz="1200">
                  <a:solidFill>
                    <a:srgbClr val="002060"/>
                  </a:solidFill>
                  <a:cs typeface="Arial" pitchFamily="34" charset="0"/>
                </a:rPr>
                <a:t>ABI already spends massively on R&amp;D systems Align to their thriving with community principle </a:t>
              </a: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Arial" pitchFamily="34" charset="0"/>
              </a:endParaRPr>
            </a:p>
          </p:txBody>
        </p:sp>
        <p:sp>
          <p:nvSpPr>
            <p:cNvPr id="50" name="Rounded Rectangle 2">
              <a:extLst>
                <a:ext uri="{FF2B5EF4-FFF2-40B4-BE49-F238E27FC236}">
                  <a16:creationId xmlns:a16="http://schemas.microsoft.com/office/drawing/2014/main" id="{3C8AEDB6-F5B3-E361-CAD0-4F243DB6BE61}"/>
                </a:ext>
              </a:extLst>
            </p:cNvPr>
            <p:cNvSpPr/>
            <p:nvPr/>
          </p:nvSpPr>
          <p:spPr>
            <a:xfrm>
              <a:off x="6393508" y="3748636"/>
              <a:ext cx="1236203" cy="1391725"/>
            </a:xfrm>
            <a:prstGeom prst="roundRect">
              <a:avLst>
                <a:gd name="adj" fmla="val 11574"/>
              </a:avLst>
            </a:prstGeom>
            <a:solidFill>
              <a:srgbClr val="F3D71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Moderate capital investment as systems and processes in place  </a:t>
              </a:r>
            </a:p>
          </p:txBody>
        </p:sp>
        <p:sp>
          <p:nvSpPr>
            <p:cNvPr id="51" name="Rounded Rectangle 2">
              <a:extLst>
                <a:ext uri="{FF2B5EF4-FFF2-40B4-BE49-F238E27FC236}">
                  <a16:creationId xmlns:a16="http://schemas.microsoft.com/office/drawing/2014/main" id="{E1200D04-9DC9-FB81-B1FF-DA3101D3850F}"/>
                </a:ext>
              </a:extLst>
            </p:cNvPr>
            <p:cNvSpPr/>
            <p:nvPr/>
          </p:nvSpPr>
          <p:spPr>
            <a:xfrm>
              <a:off x="7688585" y="3748636"/>
              <a:ext cx="1236203" cy="1391725"/>
            </a:xfrm>
            <a:prstGeom prst="roundRect">
              <a:avLst>
                <a:gd name="adj" fmla="val 11574"/>
              </a:avLst>
            </a:prstGeom>
            <a:solidFill>
              <a:srgbClr val="F3D71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sz="1200">
                  <a:solidFill>
                    <a:srgbClr val="002060"/>
                  </a:solidFill>
                  <a:cs typeface="Arial" pitchFamily="34" charset="0"/>
                </a:rPr>
                <a:t>Can use indigenous techniques further to reduce cost of prod </a:t>
              </a:r>
              <a:endParaRPr kumimoji="0" lang="en-IN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Arial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D242C6B-8C1A-8F6E-7E0C-E29467268091}"/>
                </a:ext>
              </a:extLst>
            </p:cNvPr>
            <p:cNvSpPr/>
            <p:nvPr/>
          </p:nvSpPr>
          <p:spPr>
            <a:xfrm>
              <a:off x="3667502" y="2295107"/>
              <a:ext cx="1305399" cy="1391725"/>
            </a:xfrm>
            <a:custGeom>
              <a:avLst/>
              <a:gdLst>
                <a:gd name="connsiteX0" fmla="*/ 0 w 1873885"/>
                <a:gd name="connsiteY0" fmla="*/ 0 h 1355309"/>
                <a:gd name="connsiteX1" fmla="*/ 1873885 w 1873885"/>
                <a:gd name="connsiteY1" fmla="*/ 0 h 1355309"/>
                <a:gd name="connsiteX2" fmla="*/ 1873885 w 1873885"/>
                <a:gd name="connsiteY2" fmla="*/ 1355309 h 1355309"/>
                <a:gd name="connsiteX3" fmla="*/ 0 w 1873885"/>
                <a:gd name="connsiteY3" fmla="*/ 1355309 h 1355309"/>
                <a:gd name="connsiteX4" fmla="*/ 0 w 1873885"/>
                <a:gd name="connsiteY4" fmla="*/ 0 h 1355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85" h="1355309">
                  <a:moveTo>
                    <a:pt x="0" y="0"/>
                  </a:moveTo>
                  <a:lnTo>
                    <a:pt x="1873885" y="0"/>
                  </a:lnTo>
                  <a:lnTo>
                    <a:pt x="1873885" y="1355309"/>
                  </a:lnTo>
                  <a:lnTo>
                    <a:pt x="0" y="135530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sng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Operational Synergy:</a:t>
              </a:r>
              <a:r>
                <a:rPr kumimoji="0" lang="en-IN" sz="1200" b="0" i="0" u="sng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Achieving Economies of Scope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C68EE3D4-1DB2-972F-2052-C93F771EAE78}"/>
                </a:ext>
              </a:extLst>
            </p:cNvPr>
            <p:cNvCxnSpPr>
              <a:cxnSpLocks/>
            </p:cNvCxnSpPr>
            <p:nvPr/>
          </p:nvCxnSpPr>
          <p:spPr>
            <a:xfrm>
              <a:off x="6360992" y="2213522"/>
              <a:ext cx="0" cy="3009533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E02F85E2-22DA-BB9C-7456-E14B21373AD8}"/>
                </a:ext>
              </a:extLst>
            </p:cNvPr>
            <p:cNvSpPr/>
            <p:nvPr/>
          </p:nvSpPr>
          <p:spPr>
            <a:xfrm>
              <a:off x="3677575" y="3718288"/>
              <a:ext cx="1303424" cy="1391725"/>
            </a:xfrm>
            <a:custGeom>
              <a:avLst/>
              <a:gdLst>
                <a:gd name="connsiteX0" fmla="*/ 0 w 1873885"/>
                <a:gd name="connsiteY0" fmla="*/ 0 h 1355309"/>
                <a:gd name="connsiteX1" fmla="*/ 1873885 w 1873885"/>
                <a:gd name="connsiteY1" fmla="*/ 0 h 1355309"/>
                <a:gd name="connsiteX2" fmla="*/ 1873885 w 1873885"/>
                <a:gd name="connsiteY2" fmla="*/ 1355309 h 1355309"/>
                <a:gd name="connsiteX3" fmla="*/ 0 w 1873885"/>
                <a:gd name="connsiteY3" fmla="*/ 1355309 h 1355309"/>
                <a:gd name="connsiteX4" fmla="*/ 0 w 1873885"/>
                <a:gd name="connsiteY4" fmla="*/ 0 h 1355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85" h="1355309">
                  <a:moveTo>
                    <a:pt x="0" y="0"/>
                  </a:moveTo>
                  <a:lnTo>
                    <a:pt x="1873885" y="0"/>
                  </a:lnTo>
                  <a:lnTo>
                    <a:pt x="1873885" y="1355309"/>
                  </a:lnTo>
                  <a:lnTo>
                    <a:pt x="0" y="135530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sng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Learning and innovation:  </a:t>
              </a: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i="0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Aligning to core values and learning from traditional methods</a:t>
              </a:r>
            </a:p>
          </p:txBody>
        </p:sp>
        <p:sp>
          <p:nvSpPr>
            <p:cNvPr id="55" name="Rounded Rectangle 2">
              <a:extLst>
                <a:ext uri="{FF2B5EF4-FFF2-40B4-BE49-F238E27FC236}">
                  <a16:creationId xmlns:a16="http://schemas.microsoft.com/office/drawing/2014/main" id="{6EF180F3-6159-F819-5B03-83EEF41BF015}"/>
                </a:ext>
              </a:extLst>
            </p:cNvPr>
            <p:cNvSpPr/>
            <p:nvPr/>
          </p:nvSpPr>
          <p:spPr>
            <a:xfrm>
              <a:off x="4054374" y="1289217"/>
              <a:ext cx="864000" cy="360000"/>
            </a:xfrm>
            <a:prstGeom prst="roundRect">
              <a:avLst>
                <a:gd name="adj" fmla="val 11574"/>
              </a:avLst>
            </a:prstGeom>
            <a:solidFill>
              <a:srgbClr val="D3A63C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High Impact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89984E03-1BAE-352C-1C34-CCC27A89C3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1280" y="2132069"/>
              <a:ext cx="5039389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EDA376BD-C812-AE86-7D36-F6494C42F21F}"/>
                </a:ext>
              </a:extLst>
            </p:cNvPr>
            <p:cNvCxnSpPr>
              <a:cxnSpLocks/>
            </p:cNvCxnSpPr>
            <p:nvPr/>
          </p:nvCxnSpPr>
          <p:spPr>
            <a:xfrm>
              <a:off x="5019283" y="1384706"/>
              <a:ext cx="0" cy="3838349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8" name="Rounded Rectangle 2">
              <a:extLst>
                <a:ext uri="{FF2B5EF4-FFF2-40B4-BE49-F238E27FC236}">
                  <a16:creationId xmlns:a16="http://schemas.microsoft.com/office/drawing/2014/main" id="{FA2F9E2D-4A5B-A551-C28A-13417FF2804E}"/>
                </a:ext>
              </a:extLst>
            </p:cNvPr>
            <p:cNvSpPr/>
            <p:nvPr/>
          </p:nvSpPr>
          <p:spPr>
            <a:xfrm>
              <a:off x="4063120" y="1706158"/>
              <a:ext cx="864000" cy="360000"/>
            </a:xfrm>
            <a:prstGeom prst="roundRect">
              <a:avLst>
                <a:gd name="adj" fmla="val 11574"/>
              </a:avLst>
            </a:prstGeom>
            <a:solidFill>
              <a:srgbClr val="F3D713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Moderate Impact</a:t>
              </a:r>
            </a:p>
          </p:txBody>
        </p:sp>
        <p:sp>
          <p:nvSpPr>
            <p:cNvPr id="59" name="Rounded Rectangle 2">
              <a:extLst>
                <a:ext uri="{FF2B5EF4-FFF2-40B4-BE49-F238E27FC236}">
                  <a16:creationId xmlns:a16="http://schemas.microsoft.com/office/drawing/2014/main" id="{BAADC0D0-2F28-13ED-98AB-44BD8CE2DD88}"/>
                </a:ext>
              </a:extLst>
            </p:cNvPr>
            <p:cNvSpPr/>
            <p:nvPr/>
          </p:nvSpPr>
          <p:spPr>
            <a:xfrm>
              <a:off x="5092499" y="1273830"/>
              <a:ext cx="3822477" cy="370336"/>
            </a:xfrm>
            <a:prstGeom prst="roundRect">
              <a:avLst>
                <a:gd name="adj" fmla="val 11574"/>
              </a:avLst>
            </a:prstGeom>
            <a:solidFill>
              <a:schemeClr val="tx1">
                <a:lumMod val="95000"/>
                <a:lumOff val="5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Calibri" panose="020F0502020204030204" pitchFamily="34" charset="0"/>
                </a:rPr>
                <a:t> </a:t>
              </a:r>
              <a:r>
                <a:rPr kumimoji="0" lang="en-IN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Value Creation </a:t>
              </a:r>
            </a:p>
          </p:txBody>
        </p:sp>
        <p:pic>
          <p:nvPicPr>
            <p:cNvPr id="60" name="Graphic 104" descr="Line arrow: Straight with solid fill">
              <a:extLst>
                <a:ext uri="{FF2B5EF4-FFF2-40B4-BE49-F238E27FC236}">
                  <a16:creationId xmlns:a16="http://schemas.microsoft.com/office/drawing/2014/main" id="{9142AADC-F5BF-73AC-92DD-6A2513690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67534" y="1225825"/>
              <a:ext cx="863997" cy="463528"/>
            </a:xfrm>
            <a:prstGeom prst="rect">
              <a:avLst/>
            </a:prstGeom>
          </p:spPr>
        </p:pic>
        <p:pic>
          <p:nvPicPr>
            <p:cNvPr id="61" name="Graphic 105" descr="Line arrow: Straight with solid fill">
              <a:extLst>
                <a:ext uri="{FF2B5EF4-FFF2-40B4-BE49-F238E27FC236}">
                  <a16:creationId xmlns:a16="http://schemas.microsoft.com/office/drawing/2014/main" id="{028D5330-6AE6-D6F1-6BC2-8A7D5D2FDE6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0800000">
              <a:off x="7857609" y="1236437"/>
              <a:ext cx="863997" cy="463528"/>
            </a:xfrm>
            <a:prstGeom prst="rect">
              <a:avLst/>
            </a:prstGeom>
          </p:spPr>
        </p:pic>
        <p:sp>
          <p:nvSpPr>
            <p:cNvPr id="62" name="TextBox 55">
              <a:extLst>
                <a:ext uri="{FF2B5EF4-FFF2-40B4-BE49-F238E27FC236}">
                  <a16:creationId xmlns:a16="http://schemas.microsoft.com/office/drawing/2014/main" id="{65BBF5E0-3814-8C76-AD07-8364DAFDA2AB}"/>
                </a:ext>
              </a:extLst>
            </p:cNvPr>
            <p:cNvSpPr txBox="1"/>
            <p:nvPr/>
          </p:nvSpPr>
          <p:spPr>
            <a:xfrm>
              <a:off x="3891280" y="921025"/>
              <a:ext cx="5023694" cy="276999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IN" sz="1200" b="1">
                  <a:solidFill>
                    <a:schemeClr val="bg1"/>
                  </a:solidFill>
                  <a:cs typeface="Arial" panose="020B0604020202020204" pitchFamily="34" charset="0"/>
                </a:rPr>
                <a:t>Synergy Analysis between </a:t>
              </a:r>
              <a:r>
                <a:rPr lang="en-IN" sz="1200" b="1" err="1">
                  <a:solidFill>
                    <a:schemeClr val="bg1"/>
                  </a:solidFill>
                  <a:cs typeface="Arial" panose="020B0604020202020204" pitchFamily="34" charset="0"/>
                </a:rPr>
                <a:t>ABinBev</a:t>
              </a:r>
              <a:r>
                <a:rPr lang="en-IN" sz="1200" b="1">
                  <a:solidFill>
                    <a:schemeClr val="bg1"/>
                  </a:solidFill>
                  <a:cs typeface="Arial" panose="020B0604020202020204" pitchFamily="34" charset="0"/>
                </a:rPr>
                <a:t> and Rice Whisky</a:t>
              </a:r>
              <a:endParaRPr lang="en-IN" sz="120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02AE772E-7E52-64CE-1A92-E02CDBEA57EF}"/>
              </a:ext>
            </a:extLst>
          </p:cNvPr>
          <p:cNvSpPr/>
          <p:nvPr/>
        </p:nvSpPr>
        <p:spPr>
          <a:xfrm rot="5400000">
            <a:off x="8263507" y="5477602"/>
            <a:ext cx="412361" cy="288232"/>
          </a:xfrm>
          <a:prstGeom prst="rightArrow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168" name="TextBox 7167">
            <a:extLst>
              <a:ext uri="{FF2B5EF4-FFF2-40B4-BE49-F238E27FC236}">
                <a16:creationId xmlns:a16="http://schemas.microsoft.com/office/drawing/2014/main" id="{7F4FBA1A-7DBA-3809-3F37-AEF4BB168E8F}"/>
              </a:ext>
            </a:extLst>
          </p:cNvPr>
          <p:cNvSpPr txBox="1"/>
          <p:nvPr/>
        </p:nvSpPr>
        <p:spPr>
          <a:xfrm>
            <a:off x="5832005" y="5816323"/>
            <a:ext cx="5161309" cy="830997"/>
          </a:xfrm>
          <a:prstGeom prst="rect">
            <a:avLst/>
          </a:prstGeom>
          <a:noFill/>
          <a:ln w="28575">
            <a:solidFill>
              <a:srgbClr val="D3A63C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IN" sz="1600"/>
              <a:t>Expand the existing Budweiser magnum brand</a:t>
            </a:r>
          </a:p>
          <a:p>
            <a:pPr marL="342900" indent="-342900">
              <a:buAutoNum type="arabicPeriod"/>
            </a:pPr>
            <a:r>
              <a:rPr lang="en-IN" sz="1600"/>
              <a:t>Diversify into non-premium malt whiskey</a:t>
            </a:r>
          </a:p>
          <a:p>
            <a:pPr marL="342900" indent="-342900">
              <a:buAutoNum type="arabicPeriod"/>
            </a:pPr>
            <a:r>
              <a:rPr lang="en-IN" sz="1600" b="1" i="1"/>
              <a:t>Diversify to premium indigenous rice-whiskey</a:t>
            </a:r>
          </a:p>
        </p:txBody>
      </p:sp>
      <p:sp>
        <p:nvSpPr>
          <p:cNvPr id="7200" name="Rectangle 7199">
            <a:extLst>
              <a:ext uri="{FF2B5EF4-FFF2-40B4-BE49-F238E27FC236}">
                <a16:creationId xmlns:a16="http://schemas.microsoft.com/office/drawing/2014/main" id="{BB8F3DAF-BAF0-EDC7-531D-5577241F9D4E}"/>
              </a:ext>
            </a:extLst>
          </p:cNvPr>
          <p:cNvSpPr/>
          <p:nvPr/>
        </p:nvSpPr>
        <p:spPr>
          <a:xfrm>
            <a:off x="342419" y="5762878"/>
            <a:ext cx="4982534" cy="340117"/>
          </a:xfrm>
          <a:prstGeom prst="rect">
            <a:avLst/>
          </a:prstGeom>
          <a:noFill/>
          <a:ln w="28575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fontAlgn="base"/>
            <a:r>
              <a:rPr lang="en-US" sz="1400" b="0" i="0">
                <a:solidFill>
                  <a:srgbClr val="000000"/>
                </a:solidFill>
                <a:effectLst/>
              </a:rPr>
              <a:t>An opportunity to give back to the NE </a:t>
            </a:r>
          </a:p>
        </p:txBody>
      </p:sp>
      <p:graphicFrame>
        <p:nvGraphicFramePr>
          <p:cNvPr id="7205" name="Diagram 7204">
            <a:extLst>
              <a:ext uri="{FF2B5EF4-FFF2-40B4-BE49-F238E27FC236}">
                <a16:creationId xmlns:a16="http://schemas.microsoft.com/office/drawing/2014/main" id="{92A70028-2D1B-250B-16E5-20B2FACA35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4799135"/>
              </p:ext>
            </p:extLst>
          </p:nvPr>
        </p:nvGraphicFramePr>
        <p:xfrm>
          <a:off x="342824" y="86581"/>
          <a:ext cx="11620727" cy="237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3" name="Picture 2" descr="A drawing of a mountain with a river in the distance&#10;&#10;Description automatically generated">
            <a:extLst>
              <a:ext uri="{FF2B5EF4-FFF2-40B4-BE49-F238E27FC236}">
                <a16:creationId xmlns:a16="http://schemas.microsoft.com/office/drawing/2014/main" id="{0DC5CE99-9761-432A-5C5C-7AF14BAD3DA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74" y="26398"/>
            <a:ext cx="365548" cy="365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84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13ECC3-77B8-154B-92B9-557532147F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2B16D94-726B-2657-F8EB-5024934B74CC}"/>
              </a:ext>
            </a:extLst>
          </p:cNvPr>
          <p:cNvSpPr txBox="1">
            <a:spLocks/>
          </p:cNvSpPr>
          <p:nvPr/>
        </p:nvSpPr>
        <p:spPr>
          <a:xfrm>
            <a:off x="185947" y="728745"/>
            <a:ext cx="2798553" cy="3506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>
                <a:solidFill>
                  <a:srgbClr val="D3A63C"/>
                </a:solidFill>
              </a:rPr>
              <a:t>Consumer personas								 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458EA4D-9BBA-3804-53B6-EB39DB81FD76}"/>
              </a:ext>
            </a:extLst>
          </p:cNvPr>
          <p:cNvSpPr/>
          <p:nvPr/>
        </p:nvSpPr>
        <p:spPr>
          <a:xfrm>
            <a:off x="268687" y="1009908"/>
            <a:ext cx="2588468" cy="3062662"/>
          </a:xfrm>
          <a:prstGeom prst="roundRect">
            <a:avLst/>
          </a:prstGeom>
          <a:noFill/>
          <a:ln w="28575">
            <a:solidFill>
              <a:srgbClr val="D3A63C"/>
            </a:solidFill>
            <a:prstDash val="dash"/>
          </a:ln>
          <a:effectLst>
            <a:innerShdw blurRad="76200" dist="139700" dir="39000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sz="1400" b="1">
                <a:solidFill>
                  <a:schemeClr val="tx1"/>
                </a:solidFill>
              </a:rPr>
              <a:t>VIJAY, 58</a:t>
            </a:r>
          </a:p>
          <a:p>
            <a:r>
              <a:rPr lang="en-IN" sz="1400" b="1">
                <a:solidFill>
                  <a:schemeClr val="tx1"/>
                </a:solidFill>
              </a:rPr>
              <a:t>Kolkata</a:t>
            </a:r>
          </a:p>
          <a:p>
            <a:r>
              <a:rPr lang="en-IN" sz="1400" i="1">
                <a:solidFill>
                  <a:schemeClr val="tx1"/>
                </a:solidFill>
              </a:rPr>
              <a:t>Retired as a senior consultant</a:t>
            </a:r>
          </a:p>
          <a:p>
            <a:r>
              <a:rPr lang="en-US" sz="1400">
                <a:solidFill>
                  <a:schemeClr val="tx1"/>
                </a:solidFill>
              </a:rPr>
              <a:t>Responsible and progressive father who values quality time with his family. Seeks to break the traditional taboo around alcohol consumption. </a:t>
            </a:r>
          </a:p>
          <a:p>
            <a:r>
              <a:rPr lang="en-US" sz="1400" b="1" i="1">
                <a:solidFill>
                  <a:schemeClr val="accent4">
                    <a:lumMod val="50000"/>
                  </a:schemeClr>
                </a:solidFill>
              </a:rPr>
              <a:t>Values</a:t>
            </a:r>
            <a:r>
              <a:rPr lang="en-US" sz="1400" i="1">
                <a:solidFill>
                  <a:schemeClr val="accent4">
                    <a:lumMod val="50000"/>
                  </a:schemeClr>
                </a:solidFill>
              </a:rPr>
              <a:t>: Family, togetherness, responsible enjoyment</a:t>
            </a:r>
            <a:endParaRPr lang="en-IN" sz="1400" i="1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18801BD-8D27-B8F6-02C3-173C08279B20}"/>
              </a:ext>
            </a:extLst>
          </p:cNvPr>
          <p:cNvSpPr/>
          <p:nvPr/>
        </p:nvSpPr>
        <p:spPr>
          <a:xfrm>
            <a:off x="3040462" y="1009908"/>
            <a:ext cx="2588468" cy="3062662"/>
          </a:xfrm>
          <a:prstGeom prst="roundRect">
            <a:avLst/>
          </a:prstGeom>
          <a:noFill/>
          <a:ln w="28575">
            <a:solidFill>
              <a:srgbClr val="D3A63C"/>
            </a:solidFill>
            <a:prstDash val="dash"/>
          </a:ln>
          <a:effectLst>
            <a:innerShdw blurRad="76200" dist="139700" dir="39000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sz="1400" b="1">
                <a:solidFill>
                  <a:schemeClr val="tx1"/>
                </a:solidFill>
              </a:rPr>
              <a:t>GAURAV, 29   </a:t>
            </a:r>
          </a:p>
          <a:p>
            <a:r>
              <a:rPr lang="en-IN" sz="1400" b="1">
                <a:solidFill>
                  <a:schemeClr val="tx1"/>
                </a:solidFill>
              </a:rPr>
              <a:t>Hyderabad</a:t>
            </a:r>
          </a:p>
          <a:p>
            <a:r>
              <a:rPr lang="en-IN" sz="1400" i="1">
                <a:solidFill>
                  <a:schemeClr val="tx1"/>
                </a:solidFill>
              </a:rPr>
              <a:t>Started working in a leading tech company </a:t>
            </a:r>
          </a:p>
          <a:p>
            <a:r>
              <a:rPr lang="en-IN" sz="1400">
                <a:solidFill>
                  <a:schemeClr val="tx1"/>
                </a:solidFill>
              </a:rPr>
              <a:t>He is </a:t>
            </a:r>
            <a:r>
              <a:rPr lang="en-US" sz="1400">
                <a:solidFill>
                  <a:schemeClr val="tx1"/>
                </a:solidFill>
              </a:rPr>
              <a:t>young, career-focused individual who's just entered the workforce and wants to celebrate his newfound financial independence and success.</a:t>
            </a:r>
          </a:p>
          <a:p>
            <a:r>
              <a:rPr lang="en-IN" sz="1400" b="1" i="1">
                <a:solidFill>
                  <a:schemeClr val="accent4">
                    <a:lumMod val="50000"/>
                  </a:schemeClr>
                </a:solidFill>
              </a:rPr>
              <a:t>Values</a:t>
            </a:r>
            <a:r>
              <a:rPr lang="en-IN" sz="1400" i="1">
                <a:solidFill>
                  <a:schemeClr val="accent4">
                    <a:lumMod val="50000"/>
                  </a:schemeClr>
                </a:solidFill>
              </a:rPr>
              <a:t>: Achievement, socializing, self-express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6F5EB40-8EBC-E905-687E-532DBF80DB74}"/>
              </a:ext>
            </a:extLst>
          </p:cNvPr>
          <p:cNvSpPr/>
          <p:nvPr/>
        </p:nvSpPr>
        <p:spPr>
          <a:xfrm>
            <a:off x="5812236" y="1009908"/>
            <a:ext cx="2588468" cy="3062662"/>
          </a:xfrm>
          <a:prstGeom prst="roundRect">
            <a:avLst/>
          </a:prstGeom>
          <a:noFill/>
          <a:ln w="28575">
            <a:solidFill>
              <a:srgbClr val="D3A63C"/>
            </a:solidFill>
            <a:prstDash val="dash"/>
          </a:ln>
          <a:effectLst>
            <a:innerShdw blurRad="76200" dist="139700" dir="39000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sz="1400" b="1">
                <a:solidFill>
                  <a:schemeClr val="tx1"/>
                </a:solidFill>
              </a:rPr>
              <a:t>GAYATRI, 36</a:t>
            </a:r>
          </a:p>
          <a:p>
            <a:r>
              <a:rPr lang="en-IN" sz="1400" b="1">
                <a:solidFill>
                  <a:schemeClr val="tx1"/>
                </a:solidFill>
              </a:rPr>
              <a:t>Hyderabad</a:t>
            </a:r>
          </a:p>
          <a:p>
            <a:r>
              <a:rPr lang="en-IN" sz="1400" i="1">
                <a:solidFill>
                  <a:schemeClr val="tx1"/>
                </a:solidFill>
              </a:rPr>
              <a:t>ed-tech startup founder and active NGO member</a:t>
            </a:r>
          </a:p>
          <a:p>
            <a:r>
              <a:rPr lang="en-US" sz="1400">
                <a:solidFill>
                  <a:schemeClr val="tx1"/>
                </a:solidFill>
              </a:rPr>
              <a:t>she is socially active woman who enjoys alcoholic beverages at gatherings, parties, and social events, loves all things local. Prefers smooth taste</a:t>
            </a:r>
          </a:p>
          <a:p>
            <a:r>
              <a:rPr lang="en-IN" sz="1400" b="1" i="1">
                <a:solidFill>
                  <a:schemeClr val="accent4">
                    <a:lumMod val="50000"/>
                  </a:schemeClr>
                </a:solidFill>
              </a:rPr>
              <a:t>Values</a:t>
            </a:r>
            <a:r>
              <a:rPr lang="en-IN" sz="1400" i="1">
                <a:solidFill>
                  <a:schemeClr val="accent4">
                    <a:lumMod val="50000"/>
                  </a:schemeClr>
                </a:solidFill>
              </a:rPr>
              <a:t>: Socializing, sophistication, taste</a:t>
            </a:r>
          </a:p>
          <a:p>
            <a:endParaRPr lang="en-IN" sz="1400" b="1">
              <a:solidFill>
                <a:schemeClr val="tx1"/>
              </a:solidFill>
            </a:endParaRPr>
          </a:p>
        </p:txBody>
      </p:sp>
      <p:pic>
        <p:nvPicPr>
          <p:cNvPr id="3074" name="Picture 2" descr="Face Of Young Handsome Indian Man In Black And White Stock Photo - Download  Image Now - iStock">
            <a:extLst>
              <a:ext uri="{FF2B5EF4-FFF2-40B4-BE49-F238E27FC236}">
                <a16:creationId xmlns:a16="http://schemas.microsoft.com/office/drawing/2014/main" id="{726E48B2-01A6-71FB-A46F-C204816505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4937" y="1107925"/>
            <a:ext cx="524098" cy="55930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D wallpaper: place, girl, truth black and white, monochrome, indian woman  | Wallpaper Flare">
            <a:extLst>
              <a:ext uri="{FF2B5EF4-FFF2-40B4-BE49-F238E27FC236}">
                <a16:creationId xmlns:a16="http://schemas.microsoft.com/office/drawing/2014/main" id="{6EC8A2B2-FC2A-AF55-6901-EF89C608E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1633" y="1111826"/>
            <a:ext cx="522898" cy="569695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3,300+ Indian Man Black And White Stock Photos, Pictures &amp; Royalty-Free  Images - iStock">
            <a:extLst>
              <a:ext uri="{FF2B5EF4-FFF2-40B4-BE49-F238E27FC236}">
                <a16:creationId xmlns:a16="http://schemas.microsoft.com/office/drawing/2014/main" id="{5D9730B7-34F1-92AD-205A-E3D216E170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489" y="1086227"/>
            <a:ext cx="591369" cy="586915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6F8C55E-3A7B-6AB2-7442-FA81530DA75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431" t="2231" r="2953" b="2744"/>
          <a:stretch/>
        </p:blipFill>
        <p:spPr>
          <a:xfrm>
            <a:off x="8973746" y="1846917"/>
            <a:ext cx="2588468" cy="203701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4F27C86-B641-56AB-B5E3-BB68D34E08F7}"/>
              </a:ext>
            </a:extLst>
          </p:cNvPr>
          <p:cNvSpPr txBox="1"/>
          <p:nvPr/>
        </p:nvSpPr>
        <p:spPr>
          <a:xfrm>
            <a:off x="311183" y="457655"/>
            <a:ext cx="11560777" cy="3385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>
                <a:solidFill>
                  <a:srgbClr val="FF0000"/>
                </a:solidFill>
              </a:rPr>
              <a:t>Our consumers are independent, ambitious and value family bonding – across  touchpoints…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A76344D-7624-A715-D43D-63099C2127B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9609775"/>
              </p:ext>
            </p:extLst>
          </p:nvPr>
        </p:nvGraphicFramePr>
        <p:xfrm>
          <a:off x="7840980" y="4531149"/>
          <a:ext cx="4826883" cy="2240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CA56394E-75EB-CCBF-242D-CD05523D69B9}"/>
              </a:ext>
            </a:extLst>
          </p:cNvPr>
          <p:cNvSpPr txBox="1"/>
          <p:nvPr/>
        </p:nvSpPr>
        <p:spPr>
          <a:xfrm>
            <a:off x="8973746" y="1279460"/>
            <a:ext cx="2540392" cy="523220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en-IN" sz="1400" b="1"/>
              <a:t>What comes to your mind when you hear whiskey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DEDD2-0FCF-BCA5-DD17-724D8BDE5F3D}"/>
              </a:ext>
            </a:extLst>
          </p:cNvPr>
          <p:cNvSpPr txBox="1"/>
          <p:nvPr/>
        </p:nvSpPr>
        <p:spPr>
          <a:xfrm>
            <a:off x="8942492" y="3970332"/>
            <a:ext cx="2588469" cy="738664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r>
              <a:rPr lang="en-IN" b="1"/>
              <a:t>What flavours would you like in your whiskey, if given  an option?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1620130-6B80-E831-E917-1C8D08CDF7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457997"/>
              </p:ext>
            </p:extLst>
          </p:nvPr>
        </p:nvGraphicFramePr>
        <p:xfrm>
          <a:off x="189455" y="4319806"/>
          <a:ext cx="8370110" cy="2432770"/>
        </p:xfrm>
        <a:graphic>
          <a:graphicData uri="http://schemas.openxmlformats.org/drawingml/2006/table">
            <a:tbl>
              <a:tblPr/>
              <a:tblGrid>
                <a:gridCol w="1354865">
                  <a:extLst>
                    <a:ext uri="{9D8B030D-6E8A-4147-A177-3AD203B41FA5}">
                      <a16:colId xmlns:a16="http://schemas.microsoft.com/office/drawing/2014/main" val="4196021558"/>
                    </a:ext>
                  </a:extLst>
                </a:gridCol>
                <a:gridCol w="1693266">
                  <a:extLst>
                    <a:ext uri="{9D8B030D-6E8A-4147-A177-3AD203B41FA5}">
                      <a16:colId xmlns:a16="http://schemas.microsoft.com/office/drawing/2014/main" val="583668240"/>
                    </a:ext>
                  </a:extLst>
                </a:gridCol>
                <a:gridCol w="1705386">
                  <a:extLst>
                    <a:ext uri="{9D8B030D-6E8A-4147-A177-3AD203B41FA5}">
                      <a16:colId xmlns:a16="http://schemas.microsoft.com/office/drawing/2014/main" val="3382657438"/>
                    </a:ext>
                  </a:extLst>
                </a:gridCol>
                <a:gridCol w="1783794">
                  <a:extLst>
                    <a:ext uri="{9D8B030D-6E8A-4147-A177-3AD203B41FA5}">
                      <a16:colId xmlns:a16="http://schemas.microsoft.com/office/drawing/2014/main" val="3488026118"/>
                    </a:ext>
                  </a:extLst>
                </a:gridCol>
                <a:gridCol w="1832799">
                  <a:extLst>
                    <a:ext uri="{9D8B030D-6E8A-4147-A177-3AD203B41FA5}">
                      <a16:colId xmlns:a16="http://schemas.microsoft.com/office/drawing/2014/main" val="1657502736"/>
                    </a:ext>
                  </a:extLst>
                </a:gridCol>
              </a:tblGrid>
              <a:tr h="230414"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000" b="0" i="0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Comfortaa Medium"/>
                        </a:rPr>
                        <a:t>PROCESS​</a:t>
                      </a:r>
                      <a:endParaRPr lang="en-IN" b="0" i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</a:endParaRPr>
                    </a:p>
                  </a:txBody>
                  <a:tcPr anchor="ctr"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000" b="0" i="0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Comfortaa Medium"/>
                        </a:rPr>
                        <a:t>AWARENESS​</a:t>
                      </a:r>
                      <a:endParaRPr lang="en-IN" b="0" i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</a:endParaRPr>
                    </a:p>
                  </a:txBody>
                  <a:tcPr anchor="ctr"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000" b="0" i="0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Comfortaa Medium"/>
                        </a:rPr>
                        <a:t>CONSIDERATION​</a:t>
                      </a:r>
                      <a:endParaRPr lang="en-IN" b="0" i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</a:endParaRPr>
                    </a:p>
                  </a:txBody>
                  <a:tcPr anchor="ctr"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000" b="0" i="0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Comfortaa Medium"/>
                        </a:rPr>
                        <a:t>TRIAL​</a:t>
                      </a:r>
                      <a:endParaRPr lang="en-IN" b="0" i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</a:endParaRPr>
                    </a:p>
                  </a:txBody>
                  <a:tcPr anchor="ctr"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000" b="0" i="0"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Comfortaa Medium"/>
                        </a:rPr>
                        <a:t>RE-PURCHASE​</a:t>
                      </a:r>
                      <a:endParaRPr lang="en-IN" b="0" i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</a:endParaRPr>
                    </a:p>
                  </a:txBody>
                  <a:tcPr anchor="ctr"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564662"/>
                  </a:ext>
                </a:extLst>
              </a:tr>
              <a:tr h="1094465"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000" b="0" i="0">
                          <a:solidFill>
                            <a:srgbClr val="FFFFFF"/>
                          </a:solidFill>
                          <a:effectLst/>
                          <a:latin typeface="Comfortaa Medium"/>
                        </a:rPr>
                        <a:t>TOUCHPOINTS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90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Marketing campaign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Word of mouth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Social media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Bars and Restaurants visit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Online review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63D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Visiting brand website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Doing comparison shopping online and offline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Recommendation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Taste testing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63D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Receive as gift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Order premium whiskey at a bar or restaurant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Request samples at stores or event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Try during travel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63D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Receive promotions and marketing content on mail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Rewards and loyalty program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Referral discount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6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3343254"/>
                  </a:ext>
                </a:extLst>
              </a:tr>
              <a:tr h="1094465"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000" b="0" i="0">
                          <a:solidFill>
                            <a:srgbClr val="FFFFFF"/>
                          </a:solidFill>
                          <a:effectLst/>
                          <a:latin typeface="Comfortaa Medium"/>
                        </a:rPr>
                        <a:t>CUSTOMER PROCESS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90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Learn about the category and different brand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Develop an interest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Identify need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Research different brand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Compare the USPs and availability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Ask friends for recommendation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Try the whiskey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Evaluate the product and service experience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Make a purchase decision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Repurchase the same brand 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solidFill>
                            <a:srgbClr val="000000"/>
                          </a:solidFill>
                          <a:effectLst/>
                          <a:latin typeface="Comfortaa Medium"/>
                        </a:rPr>
                        <a:t>Develop loyalty Read more on it and refer friend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8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8379014"/>
                  </a:ext>
                </a:extLst>
              </a:tr>
            </a:tbl>
          </a:graphicData>
        </a:graphic>
      </p:graphicFrame>
      <p:sp>
        <p:nvSpPr>
          <p:cNvPr id="8" name="Rectangle 1">
            <a:extLst>
              <a:ext uri="{FF2B5EF4-FFF2-40B4-BE49-F238E27FC236}">
                <a16:creationId xmlns:a16="http://schemas.microsoft.com/office/drawing/2014/main" id="{86D7AA68-2921-831F-DF6C-B231EE062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863" y="497998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21C05587-476F-FFDF-8896-55DC6539E407}"/>
              </a:ext>
            </a:extLst>
          </p:cNvPr>
          <p:cNvSpPr txBox="1">
            <a:spLocks/>
          </p:cNvSpPr>
          <p:nvPr/>
        </p:nvSpPr>
        <p:spPr>
          <a:xfrm>
            <a:off x="185948" y="4037103"/>
            <a:ext cx="11506351" cy="3506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>
                <a:solidFill>
                  <a:srgbClr val="D3A63C"/>
                </a:solidFill>
              </a:rPr>
              <a:t>Consumer Journey Map </a:t>
            </a:r>
          </a:p>
        </p:txBody>
      </p:sp>
      <p:graphicFrame>
        <p:nvGraphicFramePr>
          <p:cNvPr id="18" name="Diagram 17">
            <a:extLst>
              <a:ext uri="{FF2B5EF4-FFF2-40B4-BE49-F238E27FC236}">
                <a16:creationId xmlns:a16="http://schemas.microsoft.com/office/drawing/2014/main" id="{B91F63F5-E875-8B2C-3CE6-FA4661257C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6006330"/>
              </p:ext>
            </p:extLst>
          </p:nvPr>
        </p:nvGraphicFramePr>
        <p:xfrm>
          <a:off x="342824" y="86581"/>
          <a:ext cx="11620727" cy="237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9" name="Picture 18" descr="A drawing of a mountain with a river in the distance&#10;&#10;Description automatically generated">
            <a:extLst>
              <a:ext uri="{FF2B5EF4-FFF2-40B4-BE49-F238E27FC236}">
                <a16:creationId xmlns:a16="http://schemas.microsoft.com/office/drawing/2014/main" id="{EEABBD21-70D8-55FE-DEDC-04A4DE382A4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174" y="26398"/>
            <a:ext cx="365548" cy="365548"/>
          </a:xfrm>
          <a:prstGeom prst="rect">
            <a:avLst/>
          </a:prstGeom>
        </p:spPr>
      </p:pic>
      <p:sp>
        <p:nvSpPr>
          <p:cNvPr id="22" name="Title 5">
            <a:extLst>
              <a:ext uri="{FF2B5EF4-FFF2-40B4-BE49-F238E27FC236}">
                <a16:creationId xmlns:a16="http://schemas.microsoft.com/office/drawing/2014/main" id="{A0F55E5D-10E5-1464-34B8-6EDBFA3009D3}"/>
              </a:ext>
            </a:extLst>
          </p:cNvPr>
          <p:cNvSpPr txBox="1">
            <a:spLocks/>
          </p:cNvSpPr>
          <p:nvPr/>
        </p:nvSpPr>
        <p:spPr>
          <a:xfrm>
            <a:off x="8900284" y="804289"/>
            <a:ext cx="2798553" cy="52322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600">
                <a:solidFill>
                  <a:srgbClr val="D3A63C"/>
                </a:solidFill>
              </a:rPr>
              <a:t>Primary Research Insights</a:t>
            </a:r>
          </a:p>
          <a:p>
            <a:pPr defTabSz="914418">
              <a:defRPr/>
            </a:pPr>
            <a:r>
              <a:rPr lang="en-US" sz="1600">
                <a:solidFill>
                  <a:srgbClr val="D3A63C"/>
                </a:solidFill>
              </a:rPr>
              <a:t>        (Sample Size-128)</a:t>
            </a:r>
            <a:r>
              <a:rPr lang="en-US" sz="1800">
                <a:solidFill>
                  <a:srgbClr val="D3A63C"/>
                </a:solidFill>
              </a:rPr>
              <a:t>								 </a:t>
            </a:r>
          </a:p>
        </p:txBody>
      </p:sp>
    </p:spTree>
    <p:extLst>
      <p:ext uri="{BB962C8B-B14F-4D97-AF65-F5344CB8AC3E}">
        <p14:creationId xmlns:p14="http://schemas.microsoft.com/office/powerpoint/2010/main" val="1102270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90" name="Picture 58389">
            <a:extLst>
              <a:ext uri="{FF2B5EF4-FFF2-40B4-BE49-F238E27FC236}">
                <a16:creationId xmlns:a16="http://schemas.microsoft.com/office/drawing/2014/main" id="{28FB1C09-1805-8791-BC4B-4BC3441862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3552" y="4083129"/>
            <a:ext cx="4969602" cy="2666014"/>
          </a:xfrm>
          <a:prstGeom prst="rect">
            <a:avLst/>
          </a:prstGeom>
        </p:spPr>
      </p:pic>
      <p:pic>
        <p:nvPicPr>
          <p:cNvPr id="58389" name="Picture 58388">
            <a:extLst>
              <a:ext uri="{FF2B5EF4-FFF2-40B4-BE49-F238E27FC236}">
                <a16:creationId xmlns:a16="http://schemas.microsoft.com/office/drawing/2014/main" id="{3195C236-B75B-3D39-92B2-B35413941F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3552" y="4081024"/>
            <a:ext cx="4969602" cy="266601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13ECC3-77B8-154B-92B9-557532147F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4BEA824F-5BE7-284B-4419-85F397F61F3F}"/>
              </a:ext>
            </a:extLst>
          </p:cNvPr>
          <p:cNvSpPr txBox="1">
            <a:spLocks/>
          </p:cNvSpPr>
          <p:nvPr/>
        </p:nvSpPr>
        <p:spPr>
          <a:xfrm>
            <a:off x="1811837" y="871278"/>
            <a:ext cx="11506351" cy="3651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>
                <a:solidFill>
                  <a:srgbClr val="D1A33C"/>
                </a:solidFill>
              </a:rPr>
              <a:t>Presenting MODIVA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B08704-7DBB-CDB5-0EFC-06B635DF40AB}"/>
              </a:ext>
            </a:extLst>
          </p:cNvPr>
          <p:cNvSpPr txBox="1"/>
          <p:nvPr/>
        </p:nvSpPr>
        <p:spPr>
          <a:xfrm>
            <a:off x="8061380" y="850611"/>
            <a:ext cx="383728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rgbClr val="D3A63C"/>
                </a:solidFill>
              </a:rPr>
              <a:t>Brand Persona</a:t>
            </a:r>
          </a:p>
          <a:p>
            <a:r>
              <a:rPr lang="en-IN" sz="2800" b="1">
                <a:latin typeface="Baguet Script" panose="00000500000000000000" pitchFamily="2" charset="0"/>
              </a:rPr>
              <a:t>The Rhinocero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6A02783-1219-4315-4D4F-3914D83C4815}"/>
              </a:ext>
            </a:extLst>
          </p:cNvPr>
          <p:cNvSpPr/>
          <p:nvPr/>
        </p:nvSpPr>
        <p:spPr>
          <a:xfrm>
            <a:off x="7021285" y="1615719"/>
            <a:ext cx="4844958" cy="2036728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i="1">
                <a:solidFill>
                  <a:srgbClr val="002060"/>
                </a:solidFill>
              </a:rPr>
              <a:t>The Great One:</a:t>
            </a:r>
          </a:p>
          <a:p>
            <a:r>
              <a:rPr lang="en-US" sz="1400">
                <a:solidFill>
                  <a:srgbClr val="002060"/>
                </a:solidFill>
              </a:rPr>
              <a:t>Ancient Occupation: Guardian of the rice </a:t>
            </a:r>
          </a:p>
          <a:p>
            <a:r>
              <a:rPr lang="en-US" sz="1400">
                <a:solidFill>
                  <a:srgbClr val="002060"/>
                </a:solidFill>
              </a:rPr>
              <a:t>Symbolizes </a:t>
            </a:r>
            <a:r>
              <a:rPr lang="en-US" sz="1400" b="1" i="1">
                <a:solidFill>
                  <a:srgbClr val="002060"/>
                </a:solidFill>
              </a:rPr>
              <a:t>Peace, tranquility, and protecting the land. </a:t>
            </a:r>
            <a:r>
              <a:rPr lang="en-US" sz="1400">
                <a:solidFill>
                  <a:srgbClr val="002060"/>
                </a:solidFill>
              </a:rPr>
              <a:t>He is rare and precious. He isn’t pompous but makes his presence felt </a:t>
            </a:r>
            <a:endParaRPr lang="en-US" sz="1400" b="1" i="1">
              <a:solidFill>
                <a:srgbClr val="002060"/>
              </a:solidFill>
            </a:endParaRPr>
          </a:p>
          <a:p>
            <a:r>
              <a:rPr lang="en-US" sz="1400" b="1" i="1">
                <a:solidFill>
                  <a:srgbClr val="002060"/>
                </a:solidFill>
              </a:rPr>
              <a:t>Personality</a:t>
            </a:r>
          </a:p>
          <a:p>
            <a:r>
              <a:rPr lang="en-US" sz="1400">
                <a:solidFill>
                  <a:srgbClr val="002060"/>
                </a:solidFill>
              </a:rPr>
              <a:t>The Great One is a wise and gentle giant. He is strong and powerful, a guardian of the North-East, royal and regal. It is powerful, majestic and rare </a:t>
            </a:r>
            <a:endParaRPr lang="en-IN" sz="1400">
              <a:solidFill>
                <a:srgbClr val="00206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19A64E-C712-8D8A-A075-BD24B0D4F873}"/>
              </a:ext>
            </a:extLst>
          </p:cNvPr>
          <p:cNvSpPr txBox="1"/>
          <p:nvPr/>
        </p:nvSpPr>
        <p:spPr>
          <a:xfrm>
            <a:off x="321945" y="457654"/>
            <a:ext cx="11544299" cy="3385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>
                <a:solidFill>
                  <a:srgbClr val="FF0000"/>
                </a:solidFill>
              </a:rPr>
              <a:t>MODIVA – a premium rice whiskey rooted in tradition and uniqueness– Straight out of North-East…</a:t>
            </a:r>
          </a:p>
        </p:txBody>
      </p:sp>
      <p:pic>
        <p:nvPicPr>
          <p:cNvPr id="58370" name="Picture 2" descr="A bottle of white wine&#10;&#10;Description automatically generated">
            <a:extLst>
              <a:ext uri="{FF2B5EF4-FFF2-40B4-BE49-F238E27FC236}">
                <a16:creationId xmlns:a16="http://schemas.microsoft.com/office/drawing/2014/main" id="{ABC13F8E-0709-1525-083D-15F23DD7B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43181" y="1249982"/>
            <a:ext cx="3469294" cy="586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6593B69-C3B2-5A17-BD22-F48E48021115}"/>
              </a:ext>
            </a:extLst>
          </p:cNvPr>
          <p:cNvSpPr txBox="1"/>
          <p:nvPr/>
        </p:nvSpPr>
        <p:spPr>
          <a:xfrm>
            <a:off x="1783889" y="1168702"/>
            <a:ext cx="56373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002060"/>
                </a:solidFill>
                <a:latin typeface="Microsoft GothicNeo" panose="020B0503020000020004" pitchFamily="34" charset="-127"/>
                <a:ea typeface="Microsoft GothicNeo" panose="020B0503020000020004" pitchFamily="34" charset="-127"/>
                <a:cs typeface="Microsoft GothicNeo" panose="020B0503020000020004" pitchFamily="34" charset="-127"/>
              </a:rPr>
              <a:t>Celebrating </a:t>
            </a:r>
            <a:r>
              <a:rPr lang="en-US" sz="1600" b="1" i="1" err="1">
                <a:solidFill>
                  <a:srgbClr val="002060"/>
                </a:solidFill>
                <a:latin typeface="Microsoft GothicNeo" panose="020B0503020000020004" pitchFamily="34" charset="-127"/>
                <a:ea typeface="Microsoft GothicNeo" panose="020B0503020000020004" pitchFamily="34" charset="-127"/>
                <a:cs typeface="Microsoft GothicNeo" panose="020B0503020000020004" pitchFamily="34" charset="-127"/>
              </a:rPr>
              <a:t>U</a:t>
            </a:r>
            <a:r>
              <a:rPr lang="en-US" sz="1600" i="1" err="1">
                <a:solidFill>
                  <a:srgbClr val="002060"/>
                </a:solidFill>
                <a:latin typeface="Microsoft GothicNeo" panose="020B0503020000020004" pitchFamily="34" charset="-127"/>
                <a:ea typeface="Microsoft GothicNeo" panose="020B0503020000020004" pitchFamily="34" charset="-127"/>
                <a:cs typeface="Microsoft GothicNeo" panose="020B0503020000020004" pitchFamily="34" charset="-127"/>
              </a:rPr>
              <a:t>NIQUEness</a:t>
            </a:r>
            <a:endParaRPr lang="en-IN" sz="1600" i="1">
              <a:solidFill>
                <a:srgbClr val="002060"/>
              </a:solidFill>
              <a:latin typeface="Microsoft GothicNeo" panose="020B0503020000020004" pitchFamily="34" charset="-127"/>
              <a:ea typeface="Microsoft GothicNeo" panose="020B0503020000020004" pitchFamily="34" charset="-127"/>
              <a:cs typeface="Microsoft GothicNeo" panose="020B0503020000020004" pitchFamily="34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F928FE-FB95-448F-FC0D-1D26E3FBF2BF}"/>
              </a:ext>
            </a:extLst>
          </p:cNvPr>
          <p:cNvSpPr txBox="1"/>
          <p:nvPr/>
        </p:nvSpPr>
        <p:spPr>
          <a:xfrm>
            <a:off x="4327621" y="849397"/>
            <a:ext cx="2517353" cy="646331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rgbClr val="002060"/>
                </a:solidFill>
                <a:latin typeface="Copperplate Gothic Light" panose="020E0507020206020404" pitchFamily="34" charset="0"/>
                <a:cs typeface="Cavolini" panose="03000502040302020204" pitchFamily="66" charset="0"/>
              </a:rPr>
              <a:t>Tradition. BOTTLED.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DA733EC-BD4D-0DB2-106A-3D4EF8DB56EE}"/>
              </a:ext>
            </a:extLst>
          </p:cNvPr>
          <p:cNvCxnSpPr>
            <a:cxnSpLocks/>
          </p:cNvCxnSpPr>
          <p:nvPr/>
        </p:nvCxnSpPr>
        <p:spPr>
          <a:xfrm flipV="1">
            <a:off x="1160206" y="1899611"/>
            <a:ext cx="651631" cy="298723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22741A3-E9E7-9FE8-912E-2449985352EE}"/>
              </a:ext>
            </a:extLst>
          </p:cNvPr>
          <p:cNvCxnSpPr>
            <a:cxnSpLocks/>
          </p:cNvCxnSpPr>
          <p:nvPr/>
        </p:nvCxnSpPr>
        <p:spPr>
          <a:xfrm>
            <a:off x="1280202" y="2417004"/>
            <a:ext cx="531635" cy="170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30E9632-EDD9-18B0-5BA2-D7B31885C0C5}"/>
              </a:ext>
            </a:extLst>
          </p:cNvPr>
          <p:cNvCxnSpPr>
            <a:cxnSpLocks/>
          </p:cNvCxnSpPr>
          <p:nvPr/>
        </p:nvCxnSpPr>
        <p:spPr>
          <a:xfrm>
            <a:off x="1521991" y="3282372"/>
            <a:ext cx="28984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D5BAA496-1C1B-3029-051F-E1A835898F64}"/>
              </a:ext>
            </a:extLst>
          </p:cNvPr>
          <p:cNvCxnSpPr>
            <a:cxnSpLocks/>
          </p:cNvCxnSpPr>
          <p:nvPr/>
        </p:nvCxnSpPr>
        <p:spPr>
          <a:xfrm>
            <a:off x="1521991" y="2973568"/>
            <a:ext cx="305431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BDB5067-42A4-29E8-6647-F64C24282868}"/>
              </a:ext>
            </a:extLst>
          </p:cNvPr>
          <p:cNvCxnSpPr>
            <a:cxnSpLocks/>
          </p:cNvCxnSpPr>
          <p:nvPr/>
        </p:nvCxnSpPr>
        <p:spPr>
          <a:xfrm>
            <a:off x="1514167" y="4430586"/>
            <a:ext cx="31275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12DE5D3-D253-8C18-29DD-2CCEC616BE7F}"/>
              </a:ext>
            </a:extLst>
          </p:cNvPr>
          <p:cNvCxnSpPr>
            <a:cxnSpLocks/>
          </p:cNvCxnSpPr>
          <p:nvPr/>
        </p:nvCxnSpPr>
        <p:spPr>
          <a:xfrm>
            <a:off x="1514167" y="4812206"/>
            <a:ext cx="31275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AEF00006-F5DE-E629-A96D-A4575A31F9AE}"/>
              </a:ext>
            </a:extLst>
          </p:cNvPr>
          <p:cNvSpPr txBox="1"/>
          <p:nvPr/>
        </p:nvSpPr>
        <p:spPr>
          <a:xfrm>
            <a:off x="1848465" y="2767449"/>
            <a:ext cx="2497393" cy="738664"/>
          </a:xfrm>
          <a:prstGeom prst="rect">
            <a:avLst/>
          </a:prstGeom>
          <a:noFill/>
          <a:ln w="9525">
            <a:solidFill>
              <a:srgbClr val="D3A63C"/>
            </a:solidFill>
            <a:prstDash val="lgDash"/>
          </a:ln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Rice from the north-east, later from plains of Bengal and Jharkhand  </a:t>
            </a:r>
            <a:endParaRPr lang="en-IN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FF4D3DB-0096-2130-A722-3FE673187374}"/>
              </a:ext>
            </a:extLst>
          </p:cNvPr>
          <p:cNvSpPr txBox="1"/>
          <p:nvPr/>
        </p:nvSpPr>
        <p:spPr>
          <a:xfrm>
            <a:off x="1848465" y="3562503"/>
            <a:ext cx="2497393" cy="523220"/>
          </a:xfrm>
          <a:prstGeom prst="rect">
            <a:avLst/>
          </a:prstGeom>
          <a:noFill/>
          <a:ln w="9525">
            <a:solidFill>
              <a:srgbClr val="D3A63C"/>
            </a:solidFill>
            <a:prstDash val="lgDash"/>
          </a:ln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Introduced in cinnamon apple and cherry </a:t>
            </a:r>
            <a:r>
              <a:rPr lang="en-US" sz="1400" err="1">
                <a:solidFill>
                  <a:schemeClr val="tx1">
                    <a:lumMod val="75000"/>
                    <a:lumOff val="25000"/>
                  </a:schemeClr>
                </a:solidFill>
              </a:rPr>
              <a:t>flavour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IN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C6F257B-BA47-0FD2-8493-03EDD148F398}"/>
              </a:ext>
            </a:extLst>
          </p:cNvPr>
          <p:cNvSpPr txBox="1"/>
          <p:nvPr/>
        </p:nvSpPr>
        <p:spPr>
          <a:xfrm>
            <a:off x="1848465" y="4142113"/>
            <a:ext cx="2497393" cy="523220"/>
          </a:xfrm>
          <a:prstGeom prst="rect">
            <a:avLst/>
          </a:prstGeom>
          <a:noFill/>
          <a:ln w="9525">
            <a:solidFill>
              <a:srgbClr val="D3A63C"/>
            </a:solidFill>
            <a:prstDash val="lgDash"/>
          </a:ln>
        </p:spPr>
        <p:txBody>
          <a:bodyPr wrap="square">
            <a:spAutoFit/>
          </a:bodyPr>
          <a:lstStyle/>
          <a:p>
            <a:r>
              <a:rPr lang="en-IN" sz="1400" b="0" i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Logo depicting the hills and rivers of North-East</a:t>
            </a:r>
            <a:endParaRPr lang="en-IN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8874110-1CA2-26DB-0412-1C5CF2962F1F}"/>
              </a:ext>
            </a:extLst>
          </p:cNvPr>
          <p:cNvSpPr txBox="1"/>
          <p:nvPr/>
        </p:nvSpPr>
        <p:spPr>
          <a:xfrm>
            <a:off x="1848465" y="4725006"/>
            <a:ext cx="2497393" cy="523220"/>
          </a:xfrm>
          <a:prstGeom prst="rect">
            <a:avLst/>
          </a:prstGeom>
          <a:noFill/>
          <a:ln w="9525">
            <a:solidFill>
              <a:srgbClr val="D3A63C"/>
            </a:solidFill>
            <a:prstDash val="lgDash"/>
          </a:ln>
        </p:spPr>
        <p:txBody>
          <a:bodyPr wrap="square">
            <a:spAutoFit/>
          </a:bodyPr>
          <a:lstStyle/>
          <a:p>
            <a:r>
              <a:rPr lang="en-IN" sz="1400">
                <a:solidFill>
                  <a:schemeClr val="tx1">
                    <a:lumMod val="75000"/>
                    <a:lumOff val="25000"/>
                  </a:schemeClr>
                </a:solidFill>
              </a:rPr>
              <a:t>Regal black representing brand synerg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66BCB68-7EAD-5B80-4FA0-AE26D948EA51}"/>
              </a:ext>
            </a:extLst>
          </p:cNvPr>
          <p:cNvSpPr txBox="1"/>
          <p:nvPr/>
        </p:nvSpPr>
        <p:spPr>
          <a:xfrm>
            <a:off x="1846889" y="1589647"/>
            <a:ext cx="2498970" cy="523220"/>
          </a:xfrm>
          <a:prstGeom prst="rect">
            <a:avLst/>
          </a:prstGeom>
          <a:noFill/>
          <a:ln w="9525">
            <a:solidFill>
              <a:srgbClr val="D3A63C"/>
            </a:solidFill>
            <a:prstDash val="lgDash"/>
          </a:ln>
        </p:spPr>
        <p:txBody>
          <a:bodyPr wrap="square">
            <a:spAutoFit/>
          </a:bodyPr>
          <a:lstStyle/>
          <a:p>
            <a:r>
              <a:rPr lang="en-IN" sz="1400" b="0" i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Logo depicting the nature of North-East India </a:t>
            </a:r>
            <a:endParaRPr lang="en-IN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6BE05DF-A616-2D29-03F1-D35D6FB8F997}"/>
              </a:ext>
            </a:extLst>
          </p:cNvPr>
          <p:cNvSpPr txBox="1"/>
          <p:nvPr/>
        </p:nvSpPr>
        <p:spPr>
          <a:xfrm>
            <a:off x="1848465" y="2179530"/>
            <a:ext cx="2497393" cy="523220"/>
          </a:xfrm>
          <a:prstGeom prst="rect">
            <a:avLst/>
          </a:prstGeom>
          <a:noFill/>
          <a:ln w="9525">
            <a:solidFill>
              <a:srgbClr val="D3A63C"/>
            </a:solidFill>
            <a:prstDash val="lgDash"/>
          </a:ln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MODIVA-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inspired from Assamese MOD </a:t>
            </a:r>
            <a:endParaRPr lang="en-IN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197" name="Straight Arrow Connector 8196">
            <a:extLst>
              <a:ext uri="{FF2B5EF4-FFF2-40B4-BE49-F238E27FC236}">
                <a16:creationId xmlns:a16="http://schemas.microsoft.com/office/drawing/2014/main" id="{A79D1A4D-5DE3-FE67-C678-625A322233C7}"/>
              </a:ext>
            </a:extLst>
          </p:cNvPr>
          <p:cNvCxnSpPr>
            <a:cxnSpLocks/>
          </p:cNvCxnSpPr>
          <p:nvPr/>
        </p:nvCxnSpPr>
        <p:spPr>
          <a:xfrm>
            <a:off x="1521991" y="3724823"/>
            <a:ext cx="289846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8194" name="Picture 2" descr="The state of Africa's rhino - Africa Geographic">
            <a:extLst>
              <a:ext uri="{FF2B5EF4-FFF2-40B4-BE49-F238E27FC236}">
                <a16:creationId xmlns:a16="http://schemas.microsoft.com/office/drawing/2014/main" id="{1D8EF772-3087-30D3-1D98-B849393783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2187" y="796155"/>
            <a:ext cx="985795" cy="89699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01" name="TextBox 8200">
            <a:extLst>
              <a:ext uri="{FF2B5EF4-FFF2-40B4-BE49-F238E27FC236}">
                <a16:creationId xmlns:a16="http://schemas.microsoft.com/office/drawing/2014/main" id="{C3286A17-700A-C984-00F3-A6C75C0B996F}"/>
              </a:ext>
            </a:extLst>
          </p:cNvPr>
          <p:cNvSpPr txBox="1"/>
          <p:nvPr/>
        </p:nvSpPr>
        <p:spPr>
          <a:xfrm>
            <a:off x="1846889" y="5309512"/>
            <a:ext cx="2497393" cy="523220"/>
          </a:xfrm>
          <a:prstGeom prst="rect">
            <a:avLst/>
          </a:prstGeom>
          <a:noFill/>
          <a:ln w="9525">
            <a:solidFill>
              <a:srgbClr val="D3A63C"/>
            </a:solidFill>
            <a:prstDash val="lgDash"/>
          </a:ln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Comes in local artisan crafted wooden box </a:t>
            </a:r>
            <a:endParaRPr lang="en-IN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02" name="TextBox 8201">
            <a:extLst>
              <a:ext uri="{FF2B5EF4-FFF2-40B4-BE49-F238E27FC236}">
                <a16:creationId xmlns:a16="http://schemas.microsoft.com/office/drawing/2014/main" id="{91616273-3EB5-D53C-C37C-3C10048BC959}"/>
              </a:ext>
            </a:extLst>
          </p:cNvPr>
          <p:cNvSpPr txBox="1"/>
          <p:nvPr/>
        </p:nvSpPr>
        <p:spPr>
          <a:xfrm>
            <a:off x="1830229" y="5906670"/>
            <a:ext cx="2497393" cy="738664"/>
          </a:xfrm>
          <a:prstGeom prst="rect">
            <a:avLst/>
          </a:prstGeom>
          <a:noFill/>
          <a:ln w="9525">
            <a:solidFill>
              <a:srgbClr val="D3A63C"/>
            </a:solidFill>
            <a:prstDash val="lgDash"/>
          </a:ln>
        </p:spPr>
        <p:txBody>
          <a:bodyPr wrap="square">
            <a:spAutoFit/>
          </a:bodyPr>
          <a:lstStyle/>
          <a:p>
            <a:r>
              <a:rPr lang="en-US" sz="14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For every bottle sold, a fixed amount goes back to the NE</a:t>
            </a:r>
            <a:endParaRPr lang="en-IN" sz="1400" b="1" i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206" name="Straight Arrow Connector 8205">
            <a:extLst>
              <a:ext uri="{FF2B5EF4-FFF2-40B4-BE49-F238E27FC236}">
                <a16:creationId xmlns:a16="http://schemas.microsoft.com/office/drawing/2014/main" id="{1BF75FD5-EA6C-B9A6-2115-A72687BC2D12}"/>
              </a:ext>
            </a:extLst>
          </p:cNvPr>
          <p:cNvCxnSpPr>
            <a:cxnSpLocks/>
            <a:endCxn id="8202" idx="1"/>
          </p:cNvCxnSpPr>
          <p:nvPr/>
        </p:nvCxnSpPr>
        <p:spPr>
          <a:xfrm>
            <a:off x="1495931" y="6000579"/>
            <a:ext cx="334298" cy="275423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8374" name="Picture 6" descr="Accolade Wines unveils flat-pack Hardys bottles - Just Drinks">
            <a:extLst>
              <a:ext uri="{FF2B5EF4-FFF2-40B4-BE49-F238E27FC236}">
                <a16:creationId xmlns:a16="http://schemas.microsoft.com/office/drawing/2014/main" id="{89D8EE86-2F2B-F508-89CD-69E2744920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8949" y="2979186"/>
            <a:ext cx="681767" cy="1503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6" name="Picture 8" descr="Revolutionizing the Alcohol Beverage Industry: The Impact of Eco-Friendly  Packaging">
            <a:extLst>
              <a:ext uri="{FF2B5EF4-FFF2-40B4-BE49-F238E27FC236}">
                <a16:creationId xmlns:a16="http://schemas.microsoft.com/office/drawing/2014/main" id="{4E829F2E-4F85-40A8-4AF8-11C9791E77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5039" y="1525682"/>
            <a:ext cx="2497393" cy="1063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8" name="Picture 10" descr="Johnnie Walker whisky to become available in paper-based bottle | The  Independent | The Independent">
            <a:extLst>
              <a:ext uri="{FF2B5EF4-FFF2-40B4-BE49-F238E27FC236}">
                <a16:creationId xmlns:a16="http://schemas.microsoft.com/office/drawing/2014/main" id="{3708F556-742F-0876-D1FC-06D21D700B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393" y="3035084"/>
            <a:ext cx="1333402" cy="1001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09" name="TextBox 8208">
            <a:extLst>
              <a:ext uri="{FF2B5EF4-FFF2-40B4-BE49-F238E27FC236}">
                <a16:creationId xmlns:a16="http://schemas.microsoft.com/office/drawing/2014/main" id="{F20CA5C0-D745-E5A3-B878-5B03BF5FD2C4}"/>
              </a:ext>
            </a:extLst>
          </p:cNvPr>
          <p:cNvSpPr txBox="1"/>
          <p:nvPr/>
        </p:nvSpPr>
        <p:spPr>
          <a:xfrm>
            <a:off x="4400710" y="2565175"/>
            <a:ext cx="2922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IN" sz="1200" b="0" i="0" u="none" strike="noStrike">
                <a:solidFill>
                  <a:srgbClr val="D3A63C"/>
                </a:solidFill>
                <a:effectLst/>
              </a:rPr>
              <a:t>Cellulose-</a:t>
            </a:r>
            <a:r>
              <a:rPr lang="en-IN" sz="1200" b="0" i="0" u="none" strike="noStrike" err="1">
                <a:solidFill>
                  <a:srgbClr val="D3A63C"/>
                </a:solidFill>
                <a:effectLst/>
              </a:rPr>
              <a:t>fiber</a:t>
            </a:r>
            <a:r>
              <a:rPr lang="en-IN" sz="1200" b="0" i="0" u="none" strike="noStrike">
                <a:solidFill>
                  <a:srgbClr val="D3A63C"/>
                </a:solidFill>
                <a:effectLst/>
              </a:rPr>
              <a:t>  packaging </a:t>
            </a:r>
            <a:r>
              <a:rPr lang="en-IN" sz="1200" b="1" i="1" u="none" strike="noStrike">
                <a:solidFill>
                  <a:srgbClr val="D3A63C"/>
                </a:solidFill>
                <a:effectLst/>
              </a:rPr>
              <a:t>(Signal 7</a:t>
            </a:r>
            <a:r>
              <a:rPr lang="en-IN" sz="1200" b="1" i="1" u="none" strike="noStrike">
                <a:solidFill>
                  <a:srgbClr val="D3A63C"/>
                </a:solidFill>
                <a:effectLst/>
                <a:latin typeface="Calibri" panose="020F0502020204030204" pitchFamily="34" charset="0"/>
              </a:rPr>
              <a:t>)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210" name="TextBox 8209">
            <a:extLst>
              <a:ext uri="{FF2B5EF4-FFF2-40B4-BE49-F238E27FC236}">
                <a16:creationId xmlns:a16="http://schemas.microsoft.com/office/drawing/2014/main" id="{CD1FE7FD-9BA8-A544-5C9A-A593EEAD7308}"/>
              </a:ext>
            </a:extLst>
          </p:cNvPr>
          <p:cNvSpPr txBox="1"/>
          <p:nvPr/>
        </p:nvSpPr>
        <p:spPr>
          <a:xfrm>
            <a:off x="5060045" y="4144479"/>
            <a:ext cx="2922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IN" sz="1200" b="1">
                <a:solidFill>
                  <a:srgbClr val="D3A63C"/>
                </a:solidFill>
                <a:latin typeface="Calibri" panose="020F0502020204030204" pitchFamily="34" charset="0"/>
              </a:rPr>
              <a:t>BPA </a:t>
            </a:r>
            <a:r>
              <a:rPr lang="en-IN" sz="1200">
                <a:solidFill>
                  <a:srgbClr val="D3A63C"/>
                </a:solidFill>
                <a:latin typeface="Calibri" panose="020F0502020204030204" pitchFamily="34" charset="0"/>
              </a:rPr>
              <a:t>free pet bottle </a:t>
            </a:r>
            <a:r>
              <a:rPr lang="en-IN" sz="1200" b="1" i="1">
                <a:solidFill>
                  <a:srgbClr val="D3A63C"/>
                </a:solidFill>
                <a:latin typeface="Calibri" panose="020F0502020204030204" pitchFamily="34" charset="0"/>
              </a:rPr>
              <a:t>(Hardy’s)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211" name="TextBox 8210">
            <a:extLst>
              <a:ext uri="{FF2B5EF4-FFF2-40B4-BE49-F238E27FC236}">
                <a16:creationId xmlns:a16="http://schemas.microsoft.com/office/drawing/2014/main" id="{0FDE116D-C8E3-A51F-4983-86A088A15DB7}"/>
              </a:ext>
            </a:extLst>
          </p:cNvPr>
          <p:cNvSpPr txBox="1"/>
          <p:nvPr/>
        </p:nvSpPr>
        <p:spPr>
          <a:xfrm>
            <a:off x="5060044" y="3935534"/>
            <a:ext cx="2922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IN" sz="1200">
                <a:solidFill>
                  <a:srgbClr val="D3A63C"/>
                </a:solidFill>
                <a:latin typeface="Calibri" panose="020F0502020204030204" pitchFamily="34" charset="0"/>
              </a:rPr>
              <a:t>Paper packaging</a:t>
            </a:r>
            <a:r>
              <a:rPr lang="en-IN" sz="1200" b="1" i="1">
                <a:solidFill>
                  <a:srgbClr val="D3A63C"/>
                </a:solidFill>
                <a:latin typeface="Calibri" panose="020F0502020204030204" pitchFamily="34" charset="0"/>
              </a:rPr>
              <a:t>(Black label)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392" name="TextBox 58391">
            <a:extLst>
              <a:ext uri="{FF2B5EF4-FFF2-40B4-BE49-F238E27FC236}">
                <a16:creationId xmlns:a16="http://schemas.microsoft.com/office/drawing/2014/main" id="{3535904E-3C3F-BF7B-07B1-FF8F1E4A39CE}"/>
              </a:ext>
            </a:extLst>
          </p:cNvPr>
          <p:cNvSpPr txBox="1"/>
          <p:nvPr/>
        </p:nvSpPr>
        <p:spPr>
          <a:xfrm>
            <a:off x="6928559" y="3765761"/>
            <a:ext cx="487737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b="1">
                <a:solidFill>
                  <a:srgbClr val="D3A63C"/>
                </a:solidFill>
              </a:rPr>
              <a:t>Brand value proposition</a:t>
            </a:r>
          </a:p>
        </p:txBody>
      </p:sp>
      <p:graphicFrame>
        <p:nvGraphicFramePr>
          <p:cNvPr id="58394" name="Diagram 58393">
            <a:extLst>
              <a:ext uri="{FF2B5EF4-FFF2-40B4-BE49-F238E27FC236}">
                <a16:creationId xmlns:a16="http://schemas.microsoft.com/office/drawing/2014/main" id="{541A14C3-E9FF-03EB-FC27-91B5253B52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1036012"/>
              </p:ext>
            </p:extLst>
          </p:nvPr>
        </p:nvGraphicFramePr>
        <p:xfrm>
          <a:off x="342824" y="86581"/>
          <a:ext cx="11620727" cy="237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0" name="Picture 9" descr="A drawing of a mountain with a river in the distance&#10;&#10;Description automatically generated">
            <a:extLst>
              <a:ext uri="{FF2B5EF4-FFF2-40B4-BE49-F238E27FC236}">
                <a16:creationId xmlns:a16="http://schemas.microsoft.com/office/drawing/2014/main" id="{2DAEEBF4-B289-4980-58CF-315622F5003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74" y="26398"/>
            <a:ext cx="365548" cy="365548"/>
          </a:xfrm>
          <a:prstGeom prst="rect">
            <a:avLst/>
          </a:prstGeom>
        </p:spPr>
      </p:pic>
      <p:pic>
        <p:nvPicPr>
          <p:cNvPr id="13" name="Picture 2" descr="5oz Mini Plastic Wine Bottles Square Whisky PET Bottle With Screw Cap">
            <a:extLst>
              <a:ext uri="{FF2B5EF4-FFF2-40B4-BE49-F238E27FC236}">
                <a16:creationId xmlns:a16="http://schemas.microsoft.com/office/drawing/2014/main" id="{A6E03C72-2E46-8E12-8BB1-CBBED684D5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1600" y="4874689"/>
            <a:ext cx="822646" cy="82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2" name="Picture 4" descr="A few thoughts on screw caps vs. cork closures on whisky bottles">
            <a:extLst>
              <a:ext uri="{FF2B5EF4-FFF2-40B4-BE49-F238E27FC236}">
                <a16:creationId xmlns:a16="http://schemas.microsoft.com/office/drawing/2014/main" id="{36704498-F257-9C8F-ED15-AF22C23A04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945"/>
          <a:stretch/>
        </p:blipFill>
        <p:spPr bwMode="auto">
          <a:xfrm>
            <a:off x="5584003" y="4953622"/>
            <a:ext cx="1353456" cy="529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Paper Bottles – Can they Replace Single-Use Plastics? - RTS">
            <a:extLst>
              <a:ext uri="{FF2B5EF4-FFF2-40B4-BE49-F238E27FC236}">
                <a16:creationId xmlns:a16="http://schemas.microsoft.com/office/drawing/2014/main" id="{BD9537A5-7CD1-B106-1F0E-53E6698B08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27" t="29272" r="37473" b="3489"/>
          <a:stretch/>
        </p:blipFill>
        <p:spPr bwMode="auto">
          <a:xfrm flipH="1">
            <a:off x="5315711" y="5989314"/>
            <a:ext cx="447226" cy="871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Vegetable-Based Inks | Warneke Paper Box">
            <a:extLst>
              <a:ext uri="{FF2B5EF4-FFF2-40B4-BE49-F238E27FC236}">
                <a16:creationId xmlns:a16="http://schemas.microsoft.com/office/drawing/2014/main" id="{D5DD2B0E-7F55-0E02-3ABC-281E45DD6D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04" t="12904" r="14484" b="14336"/>
          <a:stretch/>
        </p:blipFill>
        <p:spPr bwMode="auto">
          <a:xfrm flipH="1">
            <a:off x="6003964" y="5783393"/>
            <a:ext cx="769831" cy="787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9E2E19B-531C-FEBA-7444-42963A799FD3}"/>
              </a:ext>
            </a:extLst>
          </p:cNvPr>
          <p:cNvSpPr txBox="1"/>
          <p:nvPr/>
        </p:nvSpPr>
        <p:spPr>
          <a:xfrm>
            <a:off x="5881660" y="6529718"/>
            <a:ext cx="11248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IN" sz="1200" b="0" i="0" u="none" strike="noStrike">
                <a:solidFill>
                  <a:srgbClr val="D3A63C"/>
                </a:solidFill>
                <a:effectLst/>
              </a:rPr>
              <a:t>Vegetable ink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00D077-5BF9-21AA-2E25-4C6676BDF70A}"/>
              </a:ext>
            </a:extLst>
          </p:cNvPr>
          <p:cNvSpPr txBox="1"/>
          <p:nvPr/>
        </p:nvSpPr>
        <p:spPr>
          <a:xfrm>
            <a:off x="4419469" y="5704774"/>
            <a:ext cx="11248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IN" sz="1200" b="0" i="0" u="none" strike="noStrike">
                <a:solidFill>
                  <a:srgbClr val="D3A63C"/>
                </a:solidFill>
                <a:effectLst/>
              </a:rPr>
              <a:t>PET bottles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4FCA156-9CC9-2F05-F1D1-495EFDEF6AC1}"/>
              </a:ext>
            </a:extLst>
          </p:cNvPr>
          <p:cNvSpPr txBox="1"/>
          <p:nvPr/>
        </p:nvSpPr>
        <p:spPr>
          <a:xfrm>
            <a:off x="5544027" y="5477176"/>
            <a:ext cx="1538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IN" sz="1200" b="0" i="0" u="none" strike="noStrike">
                <a:solidFill>
                  <a:srgbClr val="D3A63C"/>
                </a:solidFill>
                <a:effectLst/>
              </a:rPr>
              <a:t>Screw-cap closure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747076-BC29-E1B2-B26B-10547C6E5190}"/>
              </a:ext>
            </a:extLst>
          </p:cNvPr>
          <p:cNvSpPr txBox="1"/>
          <p:nvPr/>
        </p:nvSpPr>
        <p:spPr>
          <a:xfrm>
            <a:off x="4388804" y="6183669"/>
            <a:ext cx="1124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IN" sz="1200" b="0" i="0" u="none" strike="noStrike">
                <a:solidFill>
                  <a:srgbClr val="D3A63C"/>
                </a:solidFill>
                <a:effectLst/>
              </a:rPr>
              <a:t>Recycled paper bottle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98D4E37-F580-9D9D-B3D5-3A915D2EAB88}"/>
              </a:ext>
            </a:extLst>
          </p:cNvPr>
          <p:cNvSpPr txBox="1"/>
          <p:nvPr/>
        </p:nvSpPr>
        <p:spPr>
          <a:xfrm>
            <a:off x="4599620" y="4503574"/>
            <a:ext cx="2255787" cy="276999"/>
          </a:xfrm>
          <a:prstGeom prst="rect">
            <a:avLst/>
          </a:prstGeom>
          <a:noFill/>
          <a:ln w="9525">
            <a:noFill/>
            <a:prstDash val="lgDash"/>
          </a:ln>
        </p:spPr>
        <p:txBody>
          <a:bodyPr wrap="square">
            <a:spAutoFit/>
          </a:bodyPr>
          <a:lstStyle/>
          <a:p>
            <a:pPr algn="ctr"/>
            <a:r>
              <a:rPr lang="en-IN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Proposed packaging</a:t>
            </a:r>
          </a:p>
        </p:txBody>
      </p:sp>
      <p:cxnSp>
        <p:nvCxnSpPr>
          <p:cNvPr id="58395" name="Straight Arrow Connector 58394">
            <a:extLst>
              <a:ext uri="{FF2B5EF4-FFF2-40B4-BE49-F238E27FC236}">
                <a16:creationId xmlns:a16="http://schemas.microsoft.com/office/drawing/2014/main" id="{874E845F-D720-41AD-0DBC-99C3167CFFFB}"/>
              </a:ext>
            </a:extLst>
          </p:cNvPr>
          <p:cNvCxnSpPr>
            <a:cxnSpLocks/>
          </p:cNvCxnSpPr>
          <p:nvPr/>
        </p:nvCxnSpPr>
        <p:spPr>
          <a:xfrm>
            <a:off x="1514167" y="5571122"/>
            <a:ext cx="312750" cy="0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36783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13ECC3-77B8-154B-92B9-557532147F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E61589-955B-3549-AD19-CD847E0672FB}" type="slidenum">
              <a:rPr lang="en-US" sz="1600" smtClean="0"/>
              <a:pPr/>
              <a:t>6</a:t>
            </a:fld>
            <a:endParaRPr lang="en-US" sz="1600"/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2B16D94-726B-2657-F8EB-5024934B74CC}"/>
              </a:ext>
            </a:extLst>
          </p:cNvPr>
          <p:cNvSpPr txBox="1">
            <a:spLocks/>
          </p:cNvSpPr>
          <p:nvPr/>
        </p:nvSpPr>
        <p:spPr>
          <a:xfrm>
            <a:off x="269739" y="807213"/>
            <a:ext cx="11506351" cy="6480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>
                <a:solidFill>
                  <a:srgbClr val="D1A33C"/>
                </a:solidFill>
              </a:rPr>
              <a:t>Supply chain and ESG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886D6D-B6B8-1A7B-BB76-813389996202}"/>
              </a:ext>
            </a:extLst>
          </p:cNvPr>
          <p:cNvSpPr txBox="1"/>
          <p:nvPr/>
        </p:nvSpPr>
        <p:spPr>
          <a:xfrm>
            <a:off x="221001" y="1013419"/>
            <a:ext cx="2989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/>
              <a:t>Inclusiv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9E0C30-40B8-2B0A-24AC-D06598BA22FC}"/>
              </a:ext>
            </a:extLst>
          </p:cNvPr>
          <p:cNvSpPr txBox="1"/>
          <p:nvPr/>
        </p:nvSpPr>
        <p:spPr>
          <a:xfrm>
            <a:off x="192486" y="2415355"/>
            <a:ext cx="2989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/>
              <a:t>Natural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E7BDFC6-1A66-E191-0A14-DF03DBD59EC6}"/>
              </a:ext>
            </a:extLst>
          </p:cNvPr>
          <p:cNvSpPr txBox="1"/>
          <p:nvPr/>
        </p:nvSpPr>
        <p:spPr>
          <a:xfrm>
            <a:off x="192486" y="3915717"/>
            <a:ext cx="2989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/>
              <a:t>Local 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89A8CF2-E2EA-C1B6-F17D-477E909832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6145" y="2443709"/>
            <a:ext cx="393967" cy="39396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84E7AE9-1FF8-14B6-556E-7C0D7DEDD7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5966" y="3890744"/>
            <a:ext cx="401402" cy="401402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8B2BE48-EBA7-3742-0E39-D6B8497DC22B}"/>
              </a:ext>
            </a:extLst>
          </p:cNvPr>
          <p:cNvCxnSpPr>
            <a:cxnSpLocks/>
          </p:cNvCxnSpPr>
          <p:nvPr/>
        </p:nvCxnSpPr>
        <p:spPr>
          <a:xfrm>
            <a:off x="4138011" y="858346"/>
            <a:ext cx="0" cy="595414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A7FD1CF-EF25-9F0A-D213-E59B3CB981D8}"/>
              </a:ext>
            </a:extLst>
          </p:cNvPr>
          <p:cNvSpPr/>
          <p:nvPr/>
        </p:nvSpPr>
        <p:spPr>
          <a:xfrm>
            <a:off x="294086" y="1350230"/>
            <a:ext cx="3707076" cy="101450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>
                <a:solidFill>
                  <a:schemeClr val="bg2">
                    <a:lumMod val="25000"/>
                  </a:schemeClr>
                </a:solidFill>
              </a:rPr>
              <a:t>Across all ages. Memories that transcend generations. Value creation for all stakeholders 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5060E5B-1563-FE22-A161-6DF696B2F103}"/>
              </a:ext>
            </a:extLst>
          </p:cNvPr>
          <p:cNvSpPr/>
          <p:nvPr/>
        </p:nvSpPr>
        <p:spPr>
          <a:xfrm>
            <a:off x="294086" y="2853795"/>
            <a:ext cx="3707076" cy="101450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>
                <a:solidFill>
                  <a:schemeClr val="bg2">
                    <a:lumMod val="25000"/>
                  </a:schemeClr>
                </a:solidFill>
              </a:rPr>
              <a:t>The best ingredients sourced from the North-east, learning the best indigenous techniques from the farmers and scaling it for production</a:t>
            </a:r>
            <a:endParaRPr lang="en-IN" sz="160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269613D-2406-C36C-1458-28B877BD0BA2}"/>
              </a:ext>
            </a:extLst>
          </p:cNvPr>
          <p:cNvSpPr/>
          <p:nvPr/>
        </p:nvSpPr>
        <p:spPr>
          <a:xfrm>
            <a:off x="283372" y="4333249"/>
            <a:ext cx="3707076" cy="117452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>
                <a:solidFill>
                  <a:schemeClr val="bg2">
                    <a:lumMod val="25000"/>
                  </a:schemeClr>
                </a:solidFill>
              </a:rPr>
              <a:t>Impacting the lives of …..farmers Collaborating with…...communities </a:t>
            </a:r>
          </a:p>
          <a:p>
            <a:r>
              <a:rPr lang="en-IN" sz="1600">
                <a:solidFill>
                  <a:schemeClr val="bg2">
                    <a:lumMod val="25000"/>
                  </a:schemeClr>
                </a:solidFill>
              </a:rPr>
              <a:t>Endeavouring to give back to the North-Eas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6E3E2D6-7C82-5AB8-B001-4933A3792977}"/>
              </a:ext>
            </a:extLst>
          </p:cNvPr>
          <p:cNvSpPr txBox="1"/>
          <p:nvPr/>
        </p:nvSpPr>
        <p:spPr>
          <a:xfrm>
            <a:off x="4188607" y="3140804"/>
            <a:ext cx="58034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>
                <a:solidFill>
                  <a:srgbClr val="D3A63C"/>
                </a:solidFill>
              </a:rPr>
              <a:t>Shareholder Value chain analysis 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F9F4D6B-94D2-9ED2-B2B3-FAC9A1693E6D}"/>
              </a:ext>
            </a:extLst>
          </p:cNvPr>
          <p:cNvSpPr/>
          <p:nvPr/>
        </p:nvSpPr>
        <p:spPr>
          <a:xfrm>
            <a:off x="279915" y="5675304"/>
            <a:ext cx="3707076" cy="1015441"/>
          </a:xfrm>
          <a:prstGeom prst="roundRect">
            <a:avLst/>
          </a:prstGeom>
          <a:solidFill>
            <a:srgbClr val="E7C620"/>
          </a:solidFill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MODIVA</a:t>
            </a:r>
            <a:r>
              <a:rPr lang="en-US" sz="1600">
                <a:solidFill>
                  <a:schemeClr val="tx1"/>
                </a:solidFill>
              </a:rPr>
              <a:t> Is our way of way of </a:t>
            </a:r>
            <a:r>
              <a:rPr lang="en-US" sz="1600" i="1">
                <a:solidFill>
                  <a:schemeClr val="tx1"/>
                </a:solidFill>
              </a:rPr>
              <a:t>giving back </a:t>
            </a:r>
            <a:r>
              <a:rPr lang="en-US" sz="1600">
                <a:solidFill>
                  <a:schemeClr val="tx1"/>
                </a:solidFill>
              </a:rPr>
              <a:t>to local communities. The journey begins here……. </a:t>
            </a:r>
            <a:endParaRPr lang="en-IN" sz="1600">
              <a:solidFill>
                <a:schemeClr val="tx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63E368-8555-CFE8-1A94-DD947A585D9A}"/>
              </a:ext>
            </a:extLst>
          </p:cNvPr>
          <p:cNvGrpSpPr/>
          <p:nvPr/>
        </p:nvGrpSpPr>
        <p:grpSpPr>
          <a:xfrm>
            <a:off x="4200308" y="3779560"/>
            <a:ext cx="1276536" cy="668162"/>
            <a:chOff x="4224493" y="1163833"/>
            <a:chExt cx="2072618" cy="108484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B9134EB-2527-12D8-5B12-A85804610E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24493" y="1163833"/>
              <a:ext cx="1084845" cy="1084845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12CFB90-ADC0-D16B-30C5-ACE3E6143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30366" y="1163833"/>
              <a:ext cx="1066745" cy="1066745"/>
            </a:xfrm>
            <a:prstGeom prst="rect">
              <a:avLst/>
            </a:prstGeom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A34411A2-B595-D8C8-C748-F044692BFB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0519" y="3854646"/>
            <a:ext cx="551308" cy="55130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671043F-1C50-A70A-7C8B-7841F735B9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55136" y="3854646"/>
            <a:ext cx="551308" cy="55130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E496410-D661-D380-B48D-D1A14580AA4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97390" y="3728571"/>
            <a:ext cx="702790" cy="70279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5EB9BAA-DF86-8FCC-DC24-0706B531E04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53129" y="4868132"/>
            <a:ext cx="783768" cy="78376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27C9F6F-9D5E-6C86-5B12-7940561BF86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43592" y="4990540"/>
            <a:ext cx="579334" cy="57933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28BDF6A-E707-54F8-2F84-0A7D09DB688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90931" y="4765846"/>
            <a:ext cx="947502" cy="947502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7A55021B-ADA1-F31E-699B-C7BFBBEF39E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64671" y="4924932"/>
            <a:ext cx="640826" cy="640826"/>
          </a:xfrm>
          <a:prstGeom prst="rect">
            <a:avLst/>
          </a:prstGeom>
        </p:spPr>
      </p:pic>
      <p:pic>
        <p:nvPicPr>
          <p:cNvPr id="1026" name="Picture 2" descr="Community Creative Icon Simple Element Illustration Stock Vector (Royalty  Free) 1158189148 | Shutterstock">
            <a:extLst>
              <a:ext uri="{FF2B5EF4-FFF2-40B4-BE49-F238E27FC236}">
                <a16:creationId xmlns:a16="http://schemas.microsoft.com/office/drawing/2014/main" id="{067E2497-EF5C-4E0C-C56A-C9586879CE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94" t="23070" r="19747" b="31569"/>
          <a:stretch/>
        </p:blipFill>
        <p:spPr bwMode="auto">
          <a:xfrm>
            <a:off x="4706249" y="4797302"/>
            <a:ext cx="1152902" cy="925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DAAC20A3-9F79-DFF9-0A45-CB41AA74D222}"/>
              </a:ext>
            </a:extLst>
          </p:cNvPr>
          <p:cNvSpPr txBox="1"/>
          <p:nvPr/>
        </p:nvSpPr>
        <p:spPr>
          <a:xfrm>
            <a:off x="4398441" y="4340145"/>
            <a:ext cx="1887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>
                <a:solidFill>
                  <a:schemeClr val="accent5">
                    <a:lumMod val="50000"/>
                  </a:schemeClr>
                </a:solidFill>
              </a:rPr>
              <a:t>Farmers </a:t>
            </a:r>
            <a:r>
              <a:rPr lang="en-IN" sz="1600"/>
              <a:t> 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F7B997F-6BBC-90D8-8F0A-57A6A1F7DAAB}"/>
              </a:ext>
            </a:extLst>
          </p:cNvPr>
          <p:cNvCxnSpPr>
            <a:cxnSpLocks/>
          </p:cNvCxnSpPr>
          <p:nvPr/>
        </p:nvCxnSpPr>
        <p:spPr>
          <a:xfrm>
            <a:off x="8197050" y="4563454"/>
            <a:ext cx="1262017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1F89CC4-E665-BB53-8202-DC6C5748CF78}"/>
              </a:ext>
            </a:extLst>
          </p:cNvPr>
          <p:cNvCxnSpPr>
            <a:cxnSpLocks/>
          </p:cNvCxnSpPr>
          <p:nvPr/>
        </p:nvCxnSpPr>
        <p:spPr>
          <a:xfrm>
            <a:off x="10367334" y="4568491"/>
            <a:ext cx="1210175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393DCFD-29B6-F7F5-B112-C78D6AB01E38}"/>
              </a:ext>
            </a:extLst>
          </p:cNvPr>
          <p:cNvCxnSpPr>
            <a:cxnSpLocks/>
          </p:cNvCxnSpPr>
          <p:nvPr/>
        </p:nvCxnSpPr>
        <p:spPr>
          <a:xfrm>
            <a:off x="11577509" y="4568491"/>
            <a:ext cx="0" cy="912258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6F24263-4DF4-770F-65BA-9E4733A5A026}"/>
              </a:ext>
            </a:extLst>
          </p:cNvPr>
          <p:cNvCxnSpPr>
            <a:cxnSpLocks/>
          </p:cNvCxnSpPr>
          <p:nvPr/>
        </p:nvCxnSpPr>
        <p:spPr>
          <a:xfrm>
            <a:off x="11241333" y="5480749"/>
            <a:ext cx="336176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317F2C8-F055-96FB-398D-5C4BA67C51ED}"/>
              </a:ext>
            </a:extLst>
          </p:cNvPr>
          <p:cNvCxnSpPr>
            <a:cxnSpLocks/>
          </p:cNvCxnSpPr>
          <p:nvPr/>
        </p:nvCxnSpPr>
        <p:spPr>
          <a:xfrm>
            <a:off x="8238433" y="5480749"/>
            <a:ext cx="1119170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C63E023-628F-8CCE-E1AA-661779076CB8}"/>
              </a:ext>
            </a:extLst>
          </p:cNvPr>
          <p:cNvCxnSpPr>
            <a:cxnSpLocks/>
          </p:cNvCxnSpPr>
          <p:nvPr/>
        </p:nvCxnSpPr>
        <p:spPr>
          <a:xfrm>
            <a:off x="5824411" y="5480749"/>
            <a:ext cx="668694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E065173-DF78-441D-246F-645C43C2CF43}"/>
              </a:ext>
            </a:extLst>
          </p:cNvPr>
          <p:cNvCxnSpPr>
            <a:cxnSpLocks/>
          </p:cNvCxnSpPr>
          <p:nvPr/>
        </p:nvCxnSpPr>
        <p:spPr>
          <a:xfrm>
            <a:off x="4334701" y="5480749"/>
            <a:ext cx="600075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EE875D8-A3C2-24D5-0654-B777AE65ADDC}"/>
              </a:ext>
            </a:extLst>
          </p:cNvPr>
          <p:cNvCxnSpPr>
            <a:cxnSpLocks/>
          </p:cNvCxnSpPr>
          <p:nvPr/>
        </p:nvCxnSpPr>
        <p:spPr>
          <a:xfrm>
            <a:off x="4351397" y="4618979"/>
            <a:ext cx="0" cy="864479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29" name="Straight Connector 1028">
            <a:extLst>
              <a:ext uri="{FF2B5EF4-FFF2-40B4-BE49-F238E27FC236}">
                <a16:creationId xmlns:a16="http://schemas.microsoft.com/office/drawing/2014/main" id="{135B9852-5386-38C8-8001-F1B261D01D36}"/>
              </a:ext>
            </a:extLst>
          </p:cNvPr>
          <p:cNvCxnSpPr/>
          <p:nvPr/>
        </p:nvCxnSpPr>
        <p:spPr>
          <a:xfrm>
            <a:off x="5622229" y="3910169"/>
            <a:ext cx="986008" cy="722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38" name="TextBox 1037">
            <a:extLst>
              <a:ext uri="{FF2B5EF4-FFF2-40B4-BE49-F238E27FC236}">
                <a16:creationId xmlns:a16="http://schemas.microsoft.com/office/drawing/2014/main" id="{7FFEBC54-576E-1A7C-7424-BF6EC8051428}"/>
              </a:ext>
            </a:extLst>
          </p:cNvPr>
          <p:cNvSpPr txBox="1"/>
          <p:nvPr/>
        </p:nvSpPr>
        <p:spPr>
          <a:xfrm>
            <a:off x="9448608" y="4538653"/>
            <a:ext cx="1887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/>
              <a:t>Distributors  </a:t>
            </a:r>
          </a:p>
        </p:txBody>
      </p:sp>
      <p:sp>
        <p:nvSpPr>
          <p:cNvPr id="1040" name="TextBox 1039">
            <a:extLst>
              <a:ext uri="{FF2B5EF4-FFF2-40B4-BE49-F238E27FC236}">
                <a16:creationId xmlns:a16="http://schemas.microsoft.com/office/drawing/2014/main" id="{AD7C0DDD-FFF6-B1DF-C68C-25E1679A0EE3}"/>
              </a:ext>
            </a:extLst>
          </p:cNvPr>
          <p:cNvSpPr txBox="1"/>
          <p:nvPr/>
        </p:nvSpPr>
        <p:spPr>
          <a:xfrm>
            <a:off x="6894224" y="3500969"/>
            <a:ext cx="1887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/>
              <a:t>Brewers  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3D4B5D6A-BC3E-97F2-AB17-CD0DBDC83CFE}"/>
              </a:ext>
            </a:extLst>
          </p:cNvPr>
          <p:cNvSpPr txBox="1"/>
          <p:nvPr/>
        </p:nvSpPr>
        <p:spPr>
          <a:xfrm>
            <a:off x="6836261" y="5577981"/>
            <a:ext cx="24469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>
                <a:solidFill>
                  <a:schemeClr val="accent5">
                    <a:lumMod val="50000"/>
                  </a:schemeClr>
                </a:solidFill>
              </a:rPr>
              <a:t>Consumers </a:t>
            </a:r>
            <a:endParaRPr lang="en-IN" sz="1600"/>
          </a:p>
        </p:txBody>
      </p:sp>
      <p:sp>
        <p:nvSpPr>
          <p:cNvPr id="1042" name="TextBox 1041">
            <a:extLst>
              <a:ext uri="{FF2B5EF4-FFF2-40B4-BE49-F238E27FC236}">
                <a16:creationId xmlns:a16="http://schemas.microsoft.com/office/drawing/2014/main" id="{421D1C32-2FE3-D4F4-E112-A301209893BF}"/>
              </a:ext>
            </a:extLst>
          </p:cNvPr>
          <p:cNvSpPr txBox="1"/>
          <p:nvPr/>
        </p:nvSpPr>
        <p:spPr>
          <a:xfrm>
            <a:off x="9522013" y="5555761"/>
            <a:ext cx="1887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/>
              <a:t> </a:t>
            </a: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484D7B16-66E1-35FB-91AA-66AFA5865035}"/>
              </a:ext>
            </a:extLst>
          </p:cNvPr>
          <p:cNvSpPr txBox="1"/>
          <p:nvPr/>
        </p:nvSpPr>
        <p:spPr>
          <a:xfrm>
            <a:off x="4781698" y="5571673"/>
            <a:ext cx="1887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>
                <a:solidFill>
                  <a:schemeClr val="accent5">
                    <a:lumMod val="50000"/>
                  </a:schemeClr>
                </a:solidFill>
              </a:rPr>
              <a:t>Communities </a:t>
            </a:r>
            <a:r>
              <a:rPr lang="en-IN" sz="1600"/>
              <a:t> 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16DED22B-F7EA-3DF8-5C58-BE5E37BA4AAB}"/>
              </a:ext>
            </a:extLst>
          </p:cNvPr>
          <p:cNvSpPr txBox="1"/>
          <p:nvPr/>
        </p:nvSpPr>
        <p:spPr>
          <a:xfrm>
            <a:off x="9522013" y="5577981"/>
            <a:ext cx="24469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/>
              <a:t>Customers </a:t>
            </a:r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5C9A5746-994A-6426-7836-528A6B476808}"/>
              </a:ext>
            </a:extLst>
          </p:cNvPr>
          <p:cNvSpPr txBox="1"/>
          <p:nvPr/>
        </p:nvSpPr>
        <p:spPr>
          <a:xfrm>
            <a:off x="5431102" y="3964072"/>
            <a:ext cx="14051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>
                <a:solidFill>
                  <a:schemeClr val="accent2"/>
                </a:solidFill>
              </a:rPr>
              <a:t>From the north-east valleys and plains of West Bengal</a:t>
            </a:r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4F4251BF-74FE-3447-FC07-E39C82ACBDD9}"/>
              </a:ext>
            </a:extLst>
          </p:cNvPr>
          <p:cNvSpPr txBox="1"/>
          <p:nvPr/>
        </p:nvSpPr>
        <p:spPr>
          <a:xfrm>
            <a:off x="8128547" y="3351069"/>
            <a:ext cx="17292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In the existing manufacturing facility. Flavours added in the last stage 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4E32F130-4B23-2E1A-2569-EC0332EBD2C8}"/>
              </a:ext>
            </a:extLst>
          </p:cNvPr>
          <p:cNvSpPr txBox="1"/>
          <p:nvPr/>
        </p:nvSpPr>
        <p:spPr>
          <a:xfrm>
            <a:off x="10300180" y="3592111"/>
            <a:ext cx="13252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To tier 1, mega and metro cities </a:t>
            </a:r>
          </a:p>
        </p:txBody>
      </p:sp>
      <p:sp>
        <p:nvSpPr>
          <p:cNvPr id="1052" name="TextBox 1051">
            <a:extLst>
              <a:ext uri="{FF2B5EF4-FFF2-40B4-BE49-F238E27FC236}">
                <a16:creationId xmlns:a16="http://schemas.microsoft.com/office/drawing/2014/main" id="{8A1DE5BB-97FA-1DC9-41F0-79FFA55CB9B7}"/>
              </a:ext>
            </a:extLst>
          </p:cNvPr>
          <p:cNvSpPr txBox="1"/>
          <p:nvPr/>
        </p:nvSpPr>
        <p:spPr>
          <a:xfrm>
            <a:off x="9471308" y="5792265"/>
            <a:ext cx="24407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Premium bars, boutique hotels, resorts, gifting outlets. Will gradually penetrate B2C as well               </a:t>
            </a:r>
          </a:p>
        </p:txBody>
      </p:sp>
      <p:sp>
        <p:nvSpPr>
          <p:cNvPr id="1053" name="TextBox 1052">
            <a:extLst>
              <a:ext uri="{FF2B5EF4-FFF2-40B4-BE49-F238E27FC236}">
                <a16:creationId xmlns:a16="http://schemas.microsoft.com/office/drawing/2014/main" id="{B0CE73C8-1550-736E-517A-E4386278EB0F}"/>
              </a:ext>
            </a:extLst>
          </p:cNvPr>
          <p:cNvSpPr txBox="1"/>
          <p:nvPr/>
        </p:nvSpPr>
        <p:spPr>
          <a:xfrm>
            <a:off x="6836260" y="5861855"/>
            <a:ext cx="24469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Promising an experiential journey. Making them connect to our rich heritage </a:t>
            </a:r>
          </a:p>
        </p:txBody>
      </p:sp>
      <p:sp>
        <p:nvSpPr>
          <p:cNvPr id="1055" name="TextBox 1054">
            <a:extLst>
              <a:ext uri="{FF2B5EF4-FFF2-40B4-BE49-F238E27FC236}">
                <a16:creationId xmlns:a16="http://schemas.microsoft.com/office/drawing/2014/main" id="{085B664F-8900-3253-AD97-9053AC5CBEAC}"/>
              </a:ext>
            </a:extLst>
          </p:cNvPr>
          <p:cNvSpPr txBox="1"/>
          <p:nvPr/>
        </p:nvSpPr>
        <p:spPr>
          <a:xfrm>
            <a:off x="4188607" y="5861855"/>
            <a:ext cx="26857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To where it all began. The people, the tribal communities, improving farming methods </a:t>
            </a:r>
          </a:p>
        </p:txBody>
      </p:sp>
      <p:sp>
        <p:nvSpPr>
          <p:cNvPr id="1056" name="Title 5">
            <a:extLst>
              <a:ext uri="{FF2B5EF4-FFF2-40B4-BE49-F238E27FC236}">
                <a16:creationId xmlns:a16="http://schemas.microsoft.com/office/drawing/2014/main" id="{B1A2BF8C-AA30-DB6F-4EDA-0C6DBCF8DBFF}"/>
              </a:ext>
            </a:extLst>
          </p:cNvPr>
          <p:cNvSpPr txBox="1">
            <a:spLocks/>
          </p:cNvSpPr>
          <p:nvPr/>
        </p:nvSpPr>
        <p:spPr>
          <a:xfrm>
            <a:off x="4166526" y="858346"/>
            <a:ext cx="2912689" cy="6480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914418">
              <a:defRPr/>
            </a:pPr>
            <a:r>
              <a:rPr lang="en-US" sz="1800" dirty="0">
                <a:solidFill>
                  <a:srgbClr val="D1A33C"/>
                </a:solidFill>
              </a:rPr>
              <a:t>MODIVA- A local brand</a:t>
            </a:r>
          </a:p>
          <a:p>
            <a:pPr algn="ctr" defTabSz="914418">
              <a:defRPr/>
            </a:pPr>
            <a:r>
              <a:rPr lang="en-US" sz="1400" b="0" dirty="0">
                <a:solidFill>
                  <a:srgbClr val="D1A33C"/>
                </a:solidFill>
              </a:rPr>
              <a:t>Impacting lives, making a change </a:t>
            </a:r>
          </a:p>
        </p:txBody>
      </p:sp>
      <p:sp>
        <p:nvSpPr>
          <p:cNvPr id="1057" name="TextBox 1056">
            <a:extLst>
              <a:ext uri="{FF2B5EF4-FFF2-40B4-BE49-F238E27FC236}">
                <a16:creationId xmlns:a16="http://schemas.microsoft.com/office/drawing/2014/main" id="{C75AD086-B293-AA22-2045-46D05976C52E}"/>
              </a:ext>
            </a:extLst>
          </p:cNvPr>
          <p:cNvSpPr txBox="1"/>
          <p:nvPr/>
        </p:nvSpPr>
        <p:spPr>
          <a:xfrm>
            <a:off x="342824" y="522612"/>
            <a:ext cx="11536756" cy="3385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>
                <a:solidFill>
                  <a:srgbClr val="FF0000"/>
                </a:solidFill>
              </a:rPr>
              <a:t>MODIVA gives back to the planet, transforming lives of farmers and tribals – creating better communities…</a:t>
            </a:r>
          </a:p>
        </p:txBody>
      </p:sp>
      <p:pic>
        <p:nvPicPr>
          <p:cNvPr id="1059" name="Picture 1058">
            <a:extLst>
              <a:ext uri="{FF2B5EF4-FFF2-40B4-BE49-F238E27FC236}">
                <a16:creationId xmlns:a16="http://schemas.microsoft.com/office/drawing/2014/main" id="{88816796-E3C6-C757-6BDD-F48E214B0284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899" b="9390"/>
          <a:stretch/>
        </p:blipFill>
        <p:spPr>
          <a:xfrm>
            <a:off x="4351396" y="2451693"/>
            <a:ext cx="7523091" cy="611419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F08B8F-B10A-F7A0-F314-EBFC08D8CE21}"/>
              </a:ext>
            </a:extLst>
          </p:cNvPr>
          <p:cNvSpPr/>
          <p:nvPr/>
        </p:nvSpPr>
        <p:spPr>
          <a:xfrm>
            <a:off x="4293693" y="1404846"/>
            <a:ext cx="7669857" cy="875907"/>
          </a:xfrm>
          <a:prstGeom prst="round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solidFill>
                  <a:srgbClr val="15163A"/>
                </a:solidFill>
              </a:rPr>
              <a:t>Farmer-centric approach for sustainable agriculture. Improving </a:t>
            </a:r>
            <a:r>
              <a:rPr lang="en-IN" sz="1400" i="1">
                <a:solidFill>
                  <a:srgbClr val="15163A"/>
                </a:solidFill>
              </a:rPr>
              <a:t>water accessibility and security through local watersh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>
                <a:solidFill>
                  <a:srgbClr val="15163A"/>
                </a:solidFill>
              </a:rPr>
              <a:t>Financial, digital, and social inclusion to SMEs and MSMEs from farmers who grow our crops supporting local smallholder farm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B003A5C-7CDE-0FBE-6C52-0E4783747B94}"/>
              </a:ext>
            </a:extLst>
          </p:cNvPr>
          <p:cNvSpPr txBox="1"/>
          <p:nvPr/>
        </p:nvSpPr>
        <p:spPr>
          <a:xfrm>
            <a:off x="6479726" y="2786344"/>
            <a:ext cx="8428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/>
              <a:t>.</a:t>
            </a:r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628AD5E9-1E27-97C9-7A78-EF6F43D467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9973210"/>
              </p:ext>
            </p:extLst>
          </p:nvPr>
        </p:nvGraphicFramePr>
        <p:xfrm>
          <a:off x="342824" y="86581"/>
          <a:ext cx="11620727" cy="237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pic>
        <p:nvPicPr>
          <p:cNvPr id="19" name="Picture 18" descr="A drawing of a mountain with a river in the distance&#10;&#10;Description automatically generated">
            <a:extLst>
              <a:ext uri="{FF2B5EF4-FFF2-40B4-BE49-F238E27FC236}">
                <a16:creationId xmlns:a16="http://schemas.microsoft.com/office/drawing/2014/main" id="{BF303095-D71A-701C-4D34-7DE344D749E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174" y="26398"/>
            <a:ext cx="365548" cy="36554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4EB3A08-3A11-43D3-91EF-24000C15645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433449" y="1013419"/>
            <a:ext cx="422581" cy="39007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64424BC-5297-F4CF-76B9-6B24F5F48320}"/>
              </a:ext>
            </a:extLst>
          </p:cNvPr>
          <p:cNvSpPr txBox="1"/>
          <p:nvPr/>
        </p:nvSpPr>
        <p:spPr>
          <a:xfrm>
            <a:off x="5431101" y="3964713"/>
            <a:ext cx="14051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From the north-east valleys and plains of West Bengal</a:t>
            </a:r>
          </a:p>
        </p:txBody>
      </p:sp>
    </p:spTree>
    <p:extLst>
      <p:ext uri="{BB962C8B-B14F-4D97-AF65-F5344CB8AC3E}">
        <p14:creationId xmlns:p14="http://schemas.microsoft.com/office/powerpoint/2010/main" val="28679015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13ECC3-77B8-154B-92B9-557532147F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2B16D94-726B-2657-F8EB-5024934B74CC}"/>
              </a:ext>
            </a:extLst>
          </p:cNvPr>
          <p:cNvSpPr txBox="1">
            <a:spLocks/>
          </p:cNvSpPr>
          <p:nvPr/>
        </p:nvSpPr>
        <p:spPr>
          <a:xfrm>
            <a:off x="285795" y="848096"/>
            <a:ext cx="3290523" cy="33855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>
                <a:solidFill>
                  <a:srgbClr val="D1A33C"/>
                </a:solidFill>
              </a:rPr>
              <a:t>Current market/distribu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03CDD1-A10B-B2A4-F4E0-E47709A62F91}"/>
              </a:ext>
            </a:extLst>
          </p:cNvPr>
          <p:cNvSpPr txBox="1"/>
          <p:nvPr/>
        </p:nvSpPr>
        <p:spPr>
          <a:xfrm>
            <a:off x="311183" y="457655"/>
            <a:ext cx="11596337" cy="3385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>
                <a:solidFill>
                  <a:srgbClr val="FF0000"/>
                </a:solidFill>
              </a:rPr>
              <a:t>We start in the metros and expand to strategic states – all fuelled by 360-degree marketing around </a:t>
            </a:r>
            <a:r>
              <a:rPr lang="en-IN" sz="1600" b="1" i="1">
                <a:solidFill>
                  <a:srgbClr val="FF0000"/>
                </a:solidFill>
              </a:rPr>
              <a:t>NE Tourism</a:t>
            </a:r>
            <a:r>
              <a:rPr lang="en-IN" sz="1600" b="1">
                <a:solidFill>
                  <a:srgbClr val="FF0000"/>
                </a:solidFill>
              </a:rPr>
              <a:t>…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09A617-3BA1-3BAF-BC7D-FBE6F56243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763" t="17677" r="323" b="11836"/>
          <a:stretch/>
        </p:blipFill>
        <p:spPr>
          <a:xfrm>
            <a:off x="3751037" y="1224533"/>
            <a:ext cx="3025683" cy="3459227"/>
          </a:xfrm>
          <a:prstGeom prst="rect">
            <a:avLst/>
          </a:prstGeom>
          <a:ln w="19050">
            <a:solidFill>
              <a:srgbClr val="D3A63C"/>
            </a:solidFill>
          </a:ln>
        </p:spPr>
      </p:pic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5B0E2BC-7FF2-FF1E-3C32-8A5709C1C5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140841"/>
              </p:ext>
            </p:extLst>
          </p:nvPr>
        </p:nvGraphicFramePr>
        <p:xfrm>
          <a:off x="285796" y="4862095"/>
          <a:ext cx="3290524" cy="1815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44478431-CE32-1296-F1C6-E8B9D4F90FF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3674" b="9977"/>
          <a:stretch/>
        </p:blipFill>
        <p:spPr>
          <a:xfrm>
            <a:off x="311184" y="1224533"/>
            <a:ext cx="3265136" cy="3459227"/>
          </a:xfrm>
          <a:prstGeom prst="rect">
            <a:avLst/>
          </a:prstGeom>
          <a:ln w="19050">
            <a:solidFill>
              <a:srgbClr val="D3A63C"/>
            </a:solidFill>
          </a:ln>
        </p:spPr>
      </p:pic>
      <p:sp>
        <p:nvSpPr>
          <p:cNvPr id="15" name="Title 5">
            <a:extLst>
              <a:ext uri="{FF2B5EF4-FFF2-40B4-BE49-F238E27FC236}">
                <a16:creationId xmlns:a16="http://schemas.microsoft.com/office/drawing/2014/main" id="{240914C2-02F4-210E-4E8F-B6D616CF8586}"/>
              </a:ext>
            </a:extLst>
          </p:cNvPr>
          <p:cNvSpPr txBox="1">
            <a:spLocks/>
          </p:cNvSpPr>
          <p:nvPr/>
        </p:nvSpPr>
        <p:spPr>
          <a:xfrm>
            <a:off x="3707492" y="887912"/>
            <a:ext cx="3025682" cy="29873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914418">
              <a:defRPr/>
            </a:pPr>
            <a:r>
              <a:rPr lang="en-US" sz="1800">
                <a:solidFill>
                  <a:srgbClr val="D1A33C"/>
                </a:solidFill>
              </a:rPr>
              <a:t>Where we play?	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46BA642-16A7-0BE4-8A5E-D73856FCA30B}"/>
              </a:ext>
            </a:extLst>
          </p:cNvPr>
          <p:cNvSpPr txBox="1"/>
          <p:nvPr/>
        </p:nvSpPr>
        <p:spPr>
          <a:xfrm>
            <a:off x="3751037" y="4862095"/>
            <a:ext cx="3025683" cy="1815882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/>
              <a:t>We target the top mega, metro cities for market penet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/>
              <a:t>then progress to states with highest %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/>
              <a:t>NE has high alcohol consumption, high long-term potential, lack of major players. </a:t>
            </a:r>
            <a:r>
              <a:rPr lang="en-IN" sz="1400" i="1">
                <a:solidFill>
                  <a:srgbClr val="002060"/>
                </a:solidFill>
              </a:rPr>
              <a:t>BLUE ocean strategy</a:t>
            </a:r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708B47B9-3D35-8D3D-3963-FCC40C1EFFCF}"/>
              </a:ext>
            </a:extLst>
          </p:cNvPr>
          <p:cNvSpPr txBox="1">
            <a:spLocks/>
          </p:cNvSpPr>
          <p:nvPr/>
        </p:nvSpPr>
        <p:spPr>
          <a:xfrm>
            <a:off x="7107640" y="910290"/>
            <a:ext cx="5084360" cy="2763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914418">
              <a:defRPr/>
            </a:pPr>
            <a:r>
              <a:rPr lang="en-US" sz="1800">
                <a:solidFill>
                  <a:srgbClr val="D1A33C"/>
                </a:solidFill>
              </a:rPr>
              <a:t>Marketing Strategy	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7DE4F8B-707A-29DD-BED2-7333FCB4D37F}"/>
              </a:ext>
            </a:extLst>
          </p:cNvPr>
          <p:cNvSpPr/>
          <p:nvPr/>
        </p:nvSpPr>
        <p:spPr>
          <a:xfrm>
            <a:off x="7020560" y="1296818"/>
            <a:ext cx="2381800" cy="1399438"/>
          </a:xfrm>
          <a:custGeom>
            <a:avLst/>
            <a:gdLst>
              <a:gd name="connsiteX0" fmla="*/ 233244 w 2381800"/>
              <a:gd name="connsiteY0" fmla="*/ 0 h 1399438"/>
              <a:gd name="connsiteX1" fmla="*/ 2148556 w 2381800"/>
              <a:gd name="connsiteY1" fmla="*/ 0 h 1399438"/>
              <a:gd name="connsiteX2" fmla="*/ 2381800 w 2381800"/>
              <a:gd name="connsiteY2" fmla="*/ 233244 h 1399438"/>
              <a:gd name="connsiteX3" fmla="*/ 2381800 w 2381800"/>
              <a:gd name="connsiteY3" fmla="*/ 744804 h 1399438"/>
              <a:gd name="connsiteX4" fmla="*/ 2347847 w 2381800"/>
              <a:gd name="connsiteY4" fmla="*/ 746518 h 1399438"/>
              <a:gd name="connsiteX5" fmla="*/ 1701525 w 2381800"/>
              <a:gd name="connsiteY5" fmla="*/ 1330864 h 1399438"/>
              <a:gd name="connsiteX6" fmla="*/ 1691060 w 2381800"/>
              <a:gd name="connsiteY6" fmla="*/ 1399438 h 1399438"/>
              <a:gd name="connsiteX7" fmla="*/ 233244 w 2381800"/>
              <a:gd name="connsiteY7" fmla="*/ 1399438 h 1399438"/>
              <a:gd name="connsiteX8" fmla="*/ 0 w 2381800"/>
              <a:gd name="connsiteY8" fmla="*/ 1166194 h 1399438"/>
              <a:gd name="connsiteX9" fmla="*/ 0 w 2381800"/>
              <a:gd name="connsiteY9" fmla="*/ 233244 h 1399438"/>
              <a:gd name="connsiteX10" fmla="*/ 233244 w 2381800"/>
              <a:gd name="connsiteY10" fmla="*/ 0 h 139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81800" h="1399438">
                <a:moveTo>
                  <a:pt x="233244" y="0"/>
                </a:moveTo>
                <a:lnTo>
                  <a:pt x="2148556" y="0"/>
                </a:lnTo>
                <a:cubicBezTo>
                  <a:pt x="2277373" y="0"/>
                  <a:pt x="2381800" y="104427"/>
                  <a:pt x="2381800" y="233244"/>
                </a:cubicBezTo>
                <a:lnTo>
                  <a:pt x="2381800" y="744804"/>
                </a:lnTo>
                <a:lnTo>
                  <a:pt x="2347847" y="746518"/>
                </a:lnTo>
                <a:cubicBezTo>
                  <a:pt x="2025937" y="779210"/>
                  <a:pt x="1765304" y="1019184"/>
                  <a:pt x="1701525" y="1330864"/>
                </a:cubicBezTo>
                <a:lnTo>
                  <a:pt x="1691060" y="1399438"/>
                </a:lnTo>
                <a:lnTo>
                  <a:pt x="233244" y="1399438"/>
                </a:lnTo>
                <a:cubicBezTo>
                  <a:pt x="104427" y="1399438"/>
                  <a:pt x="0" y="1295011"/>
                  <a:pt x="0" y="1166194"/>
                </a:cubicBezTo>
                <a:lnTo>
                  <a:pt x="0" y="233244"/>
                </a:lnTo>
                <a:cubicBezTo>
                  <a:pt x="0" y="104427"/>
                  <a:pt x="104427" y="0"/>
                  <a:pt x="233244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US" sz="1200">
              <a:solidFill>
                <a:schemeClr val="tx1"/>
              </a:solidFill>
            </a:endParaRPr>
          </a:p>
          <a:p>
            <a:r>
              <a:rPr lang="en-US" sz="1200">
                <a:solidFill>
                  <a:schemeClr val="tx1"/>
                </a:solidFill>
              </a:rPr>
              <a:t>Partner with upscale bars, restaurants, and clubs.</a:t>
            </a:r>
          </a:p>
          <a:p>
            <a:r>
              <a:rPr lang="en-US" sz="1200">
                <a:solidFill>
                  <a:schemeClr val="tx1"/>
                </a:solidFill>
              </a:rPr>
              <a:t> Partner with </a:t>
            </a:r>
            <a:r>
              <a:rPr lang="en-US" sz="1200" b="1" i="1">
                <a:solidFill>
                  <a:schemeClr val="tx1"/>
                </a:solidFill>
              </a:rPr>
              <a:t>bars for premium whiskey flights</a:t>
            </a:r>
            <a:r>
              <a:rPr lang="en-US" sz="1200" b="1" i="1">
                <a:solidFill>
                  <a:srgbClr val="D1D5DB"/>
                </a:solidFill>
              </a:rPr>
              <a:t>.</a:t>
            </a:r>
            <a:r>
              <a:rPr lang="en-IN" sz="1200" b="1" i="1">
                <a:solidFill>
                  <a:srgbClr val="D1D5DB"/>
                </a:solidFill>
              </a:rPr>
              <a:t> .</a:t>
            </a:r>
          </a:p>
          <a:p>
            <a:r>
              <a:rPr lang="en-IN" sz="1200">
                <a:solidFill>
                  <a:schemeClr val="tx1"/>
                </a:solidFill>
              </a:rPr>
              <a:t>masterclasses &amp; tastings</a:t>
            </a:r>
          </a:p>
          <a:p>
            <a:r>
              <a:rPr lang="en-IN" sz="1200">
                <a:solidFill>
                  <a:schemeClr val="tx1"/>
                </a:solidFill>
              </a:rPr>
              <a:t>at partner venues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F50852F6-502F-2686-9EE8-343136C87ED7}"/>
              </a:ext>
            </a:extLst>
          </p:cNvPr>
          <p:cNvSpPr/>
          <p:nvPr/>
        </p:nvSpPr>
        <p:spPr>
          <a:xfrm>
            <a:off x="9525720" y="1259967"/>
            <a:ext cx="2381800" cy="1448645"/>
          </a:xfrm>
          <a:custGeom>
            <a:avLst/>
            <a:gdLst>
              <a:gd name="connsiteX0" fmla="*/ 233244 w 2381800"/>
              <a:gd name="connsiteY0" fmla="*/ 0 h 1399438"/>
              <a:gd name="connsiteX1" fmla="*/ 2148556 w 2381800"/>
              <a:gd name="connsiteY1" fmla="*/ 0 h 1399438"/>
              <a:gd name="connsiteX2" fmla="*/ 2381800 w 2381800"/>
              <a:gd name="connsiteY2" fmla="*/ 233244 h 1399438"/>
              <a:gd name="connsiteX3" fmla="*/ 2381800 w 2381800"/>
              <a:gd name="connsiteY3" fmla="*/ 1166194 h 1399438"/>
              <a:gd name="connsiteX4" fmla="*/ 2148556 w 2381800"/>
              <a:gd name="connsiteY4" fmla="*/ 1399438 h 1399438"/>
              <a:gd name="connsiteX5" fmla="*/ 650100 w 2381800"/>
              <a:gd name="connsiteY5" fmla="*/ 1399438 h 1399438"/>
              <a:gd name="connsiteX6" fmla="*/ 639635 w 2381800"/>
              <a:gd name="connsiteY6" fmla="*/ 1330864 h 1399438"/>
              <a:gd name="connsiteX7" fmla="*/ 66451 w 2381800"/>
              <a:gd name="connsiteY7" fmla="*/ 757680 h 1399438"/>
              <a:gd name="connsiteX8" fmla="*/ 0 w 2381800"/>
              <a:gd name="connsiteY8" fmla="*/ 747539 h 1399438"/>
              <a:gd name="connsiteX9" fmla="*/ 0 w 2381800"/>
              <a:gd name="connsiteY9" fmla="*/ 233244 h 1399438"/>
              <a:gd name="connsiteX10" fmla="*/ 233244 w 2381800"/>
              <a:gd name="connsiteY10" fmla="*/ 0 h 139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81800" h="1399438">
                <a:moveTo>
                  <a:pt x="233244" y="0"/>
                </a:moveTo>
                <a:lnTo>
                  <a:pt x="2148556" y="0"/>
                </a:lnTo>
                <a:cubicBezTo>
                  <a:pt x="2277373" y="0"/>
                  <a:pt x="2381800" y="104427"/>
                  <a:pt x="2381800" y="233244"/>
                </a:cubicBezTo>
                <a:lnTo>
                  <a:pt x="2381800" y="1166194"/>
                </a:lnTo>
                <a:cubicBezTo>
                  <a:pt x="2381800" y="1295011"/>
                  <a:pt x="2277373" y="1399438"/>
                  <a:pt x="2148556" y="1399438"/>
                </a:cubicBezTo>
                <a:lnTo>
                  <a:pt x="650100" y="1399438"/>
                </a:lnTo>
                <a:lnTo>
                  <a:pt x="639635" y="1330864"/>
                </a:lnTo>
                <a:cubicBezTo>
                  <a:pt x="580762" y="1043159"/>
                  <a:pt x="354156" y="816553"/>
                  <a:pt x="66451" y="757680"/>
                </a:cubicBezTo>
                <a:lnTo>
                  <a:pt x="0" y="747539"/>
                </a:lnTo>
                <a:lnTo>
                  <a:pt x="0" y="233244"/>
                </a:lnTo>
                <a:cubicBezTo>
                  <a:pt x="0" y="104427"/>
                  <a:pt x="104427" y="0"/>
                  <a:pt x="233244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r"/>
            <a:endParaRPr lang="en-US" sz="1200">
              <a:solidFill>
                <a:schemeClr val="tx1"/>
              </a:solidFill>
            </a:endParaRPr>
          </a:p>
          <a:p>
            <a:pPr algn="r"/>
            <a:endParaRPr lang="en-US" sz="1200">
              <a:solidFill>
                <a:schemeClr val="tx1"/>
              </a:solidFill>
            </a:endParaRPr>
          </a:p>
          <a:p>
            <a:pPr algn="r"/>
            <a:r>
              <a:rPr lang="en-US" sz="1200">
                <a:solidFill>
                  <a:schemeClr val="tx1"/>
                </a:solidFill>
              </a:rPr>
              <a:t>Partnering with platforms like </a:t>
            </a:r>
            <a:r>
              <a:rPr lang="en-US" sz="1200" b="1">
                <a:solidFill>
                  <a:schemeClr val="tx1"/>
                </a:solidFill>
              </a:rPr>
              <a:t>liquorshop.in and The Whiskey Barrel </a:t>
            </a:r>
            <a:r>
              <a:rPr lang="en-US" sz="1200">
                <a:solidFill>
                  <a:schemeClr val="tx1"/>
                </a:solidFill>
              </a:rPr>
              <a:t>to reach a wider  audience. Limited-time offers    </a:t>
            </a:r>
          </a:p>
          <a:p>
            <a:pPr algn="r"/>
            <a:r>
              <a:rPr lang="en-US" sz="1200">
                <a:solidFill>
                  <a:schemeClr val="tx1"/>
                </a:solidFill>
              </a:rPr>
              <a:t>&amp; exclusive online</a:t>
            </a:r>
          </a:p>
          <a:p>
            <a:pPr algn="r"/>
            <a:r>
              <a:rPr lang="en-US" sz="1200">
                <a:solidFill>
                  <a:schemeClr val="tx1"/>
                </a:solidFill>
              </a:rPr>
              <a:t>releases</a:t>
            </a:r>
          </a:p>
          <a:p>
            <a:pPr algn="r"/>
            <a:r>
              <a:rPr lang="en-IN" sz="1200">
                <a:solidFill>
                  <a:schemeClr val="tx1"/>
                </a:solidFill>
              </a:rPr>
              <a:t>    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19E7890-1469-EB15-6D14-11C21295C19D}"/>
              </a:ext>
            </a:extLst>
          </p:cNvPr>
          <p:cNvSpPr/>
          <p:nvPr/>
        </p:nvSpPr>
        <p:spPr>
          <a:xfrm>
            <a:off x="7020560" y="2806802"/>
            <a:ext cx="2381800" cy="1399438"/>
          </a:xfrm>
          <a:custGeom>
            <a:avLst/>
            <a:gdLst>
              <a:gd name="connsiteX0" fmla="*/ 233244 w 2381800"/>
              <a:gd name="connsiteY0" fmla="*/ 0 h 1399438"/>
              <a:gd name="connsiteX1" fmla="*/ 1691059 w 2381800"/>
              <a:gd name="connsiteY1" fmla="*/ 0 h 1399438"/>
              <a:gd name="connsiteX2" fmla="*/ 1701525 w 2381800"/>
              <a:gd name="connsiteY2" fmla="*/ 68575 h 1399438"/>
              <a:gd name="connsiteX3" fmla="*/ 2347847 w 2381800"/>
              <a:gd name="connsiteY3" fmla="*/ 652921 h 1399438"/>
              <a:gd name="connsiteX4" fmla="*/ 2381800 w 2381800"/>
              <a:gd name="connsiteY4" fmla="*/ 654636 h 1399438"/>
              <a:gd name="connsiteX5" fmla="*/ 2381800 w 2381800"/>
              <a:gd name="connsiteY5" fmla="*/ 1166194 h 1399438"/>
              <a:gd name="connsiteX6" fmla="*/ 2148556 w 2381800"/>
              <a:gd name="connsiteY6" fmla="*/ 1399438 h 1399438"/>
              <a:gd name="connsiteX7" fmla="*/ 233244 w 2381800"/>
              <a:gd name="connsiteY7" fmla="*/ 1399438 h 1399438"/>
              <a:gd name="connsiteX8" fmla="*/ 0 w 2381800"/>
              <a:gd name="connsiteY8" fmla="*/ 1166194 h 1399438"/>
              <a:gd name="connsiteX9" fmla="*/ 0 w 2381800"/>
              <a:gd name="connsiteY9" fmla="*/ 233244 h 1399438"/>
              <a:gd name="connsiteX10" fmla="*/ 233244 w 2381800"/>
              <a:gd name="connsiteY10" fmla="*/ 0 h 139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81800" h="1399438">
                <a:moveTo>
                  <a:pt x="233244" y="0"/>
                </a:moveTo>
                <a:lnTo>
                  <a:pt x="1691059" y="0"/>
                </a:lnTo>
                <a:lnTo>
                  <a:pt x="1701525" y="68575"/>
                </a:lnTo>
                <a:cubicBezTo>
                  <a:pt x="1765304" y="380256"/>
                  <a:pt x="2025937" y="620229"/>
                  <a:pt x="2347847" y="652921"/>
                </a:cubicBezTo>
                <a:lnTo>
                  <a:pt x="2381800" y="654636"/>
                </a:lnTo>
                <a:lnTo>
                  <a:pt x="2381800" y="1166194"/>
                </a:lnTo>
                <a:cubicBezTo>
                  <a:pt x="2381800" y="1295011"/>
                  <a:pt x="2277373" y="1399438"/>
                  <a:pt x="2148556" y="1399438"/>
                </a:cubicBezTo>
                <a:lnTo>
                  <a:pt x="233244" y="1399438"/>
                </a:lnTo>
                <a:cubicBezTo>
                  <a:pt x="104427" y="1399438"/>
                  <a:pt x="0" y="1295011"/>
                  <a:pt x="0" y="1166194"/>
                </a:cubicBezTo>
                <a:lnTo>
                  <a:pt x="0" y="233244"/>
                </a:lnTo>
                <a:cubicBezTo>
                  <a:pt x="0" y="104427"/>
                  <a:pt x="104427" y="0"/>
                  <a:pt x="233244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IN" sz="1200">
              <a:solidFill>
                <a:schemeClr val="tx1"/>
              </a:solidFill>
            </a:endParaRPr>
          </a:p>
          <a:p>
            <a:r>
              <a:rPr lang="en-IN" sz="1200">
                <a:solidFill>
                  <a:schemeClr val="tx1"/>
                </a:solidFill>
              </a:rPr>
              <a:t>Offer personalization</a:t>
            </a:r>
          </a:p>
          <a:p>
            <a:r>
              <a:rPr lang="en-IN" sz="1200">
                <a:solidFill>
                  <a:schemeClr val="tx1"/>
                </a:solidFill>
              </a:rPr>
              <a:t>Subscription for regular deliveries</a:t>
            </a:r>
          </a:p>
          <a:p>
            <a:r>
              <a:rPr lang="en-IN" sz="1200" b="1" i="1">
                <a:solidFill>
                  <a:schemeClr val="tx1"/>
                </a:solidFill>
              </a:rPr>
              <a:t>Premium membership with exclusive perks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1D1B5398-0074-B5CC-8F10-AACB1D50A11D}"/>
              </a:ext>
            </a:extLst>
          </p:cNvPr>
          <p:cNvSpPr/>
          <p:nvPr/>
        </p:nvSpPr>
        <p:spPr>
          <a:xfrm>
            <a:off x="9525720" y="2806802"/>
            <a:ext cx="2381800" cy="1399438"/>
          </a:xfrm>
          <a:custGeom>
            <a:avLst/>
            <a:gdLst>
              <a:gd name="connsiteX0" fmla="*/ 650101 w 2381800"/>
              <a:gd name="connsiteY0" fmla="*/ 0 h 1399438"/>
              <a:gd name="connsiteX1" fmla="*/ 2148556 w 2381800"/>
              <a:gd name="connsiteY1" fmla="*/ 0 h 1399438"/>
              <a:gd name="connsiteX2" fmla="*/ 2381800 w 2381800"/>
              <a:gd name="connsiteY2" fmla="*/ 233244 h 1399438"/>
              <a:gd name="connsiteX3" fmla="*/ 2381800 w 2381800"/>
              <a:gd name="connsiteY3" fmla="*/ 1166194 h 1399438"/>
              <a:gd name="connsiteX4" fmla="*/ 2148556 w 2381800"/>
              <a:gd name="connsiteY4" fmla="*/ 1399438 h 1399438"/>
              <a:gd name="connsiteX5" fmla="*/ 233244 w 2381800"/>
              <a:gd name="connsiteY5" fmla="*/ 1399438 h 1399438"/>
              <a:gd name="connsiteX6" fmla="*/ 0 w 2381800"/>
              <a:gd name="connsiteY6" fmla="*/ 1166194 h 1399438"/>
              <a:gd name="connsiteX7" fmla="*/ 0 w 2381800"/>
              <a:gd name="connsiteY7" fmla="*/ 651901 h 1399438"/>
              <a:gd name="connsiteX8" fmla="*/ 66451 w 2381800"/>
              <a:gd name="connsiteY8" fmla="*/ 641759 h 1399438"/>
              <a:gd name="connsiteX9" fmla="*/ 639635 w 2381800"/>
              <a:gd name="connsiteY9" fmla="*/ 68575 h 1399438"/>
              <a:gd name="connsiteX10" fmla="*/ 650101 w 2381800"/>
              <a:gd name="connsiteY10" fmla="*/ 0 h 139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81800" h="1399438">
                <a:moveTo>
                  <a:pt x="650101" y="0"/>
                </a:moveTo>
                <a:lnTo>
                  <a:pt x="2148556" y="0"/>
                </a:lnTo>
                <a:cubicBezTo>
                  <a:pt x="2277373" y="0"/>
                  <a:pt x="2381800" y="104427"/>
                  <a:pt x="2381800" y="233244"/>
                </a:cubicBezTo>
                <a:lnTo>
                  <a:pt x="2381800" y="1166194"/>
                </a:lnTo>
                <a:cubicBezTo>
                  <a:pt x="2381800" y="1295011"/>
                  <a:pt x="2277373" y="1399438"/>
                  <a:pt x="2148556" y="1399438"/>
                </a:cubicBezTo>
                <a:lnTo>
                  <a:pt x="233244" y="1399438"/>
                </a:lnTo>
                <a:cubicBezTo>
                  <a:pt x="104427" y="1399438"/>
                  <a:pt x="0" y="1295011"/>
                  <a:pt x="0" y="1166194"/>
                </a:cubicBezTo>
                <a:lnTo>
                  <a:pt x="0" y="651901"/>
                </a:lnTo>
                <a:lnTo>
                  <a:pt x="66451" y="641759"/>
                </a:lnTo>
                <a:cubicBezTo>
                  <a:pt x="354156" y="582886"/>
                  <a:pt x="580762" y="356280"/>
                  <a:pt x="639635" y="68575"/>
                </a:cubicBezTo>
                <a:lnTo>
                  <a:pt x="650101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r"/>
            <a:r>
              <a:rPr lang="en-IN" sz="1200">
                <a:solidFill>
                  <a:schemeClr val="tx1"/>
                </a:solidFill>
              </a:rPr>
              <a:t>           </a:t>
            </a:r>
          </a:p>
          <a:p>
            <a:pPr algn="r"/>
            <a:r>
              <a:rPr lang="en-IN" sz="1200">
                <a:solidFill>
                  <a:schemeClr val="tx1"/>
                </a:solidFill>
              </a:rPr>
              <a:t>        High retail margin to target high-end retailers for Nature’s Basket and Foodhall for increased visibility and higher perceived value</a:t>
            </a:r>
          </a:p>
        </p:txBody>
      </p:sp>
      <p:graphicFrame>
        <p:nvGraphicFramePr>
          <p:cNvPr id="40" name="Diagram 39">
            <a:extLst>
              <a:ext uri="{FF2B5EF4-FFF2-40B4-BE49-F238E27FC236}">
                <a16:creationId xmlns:a16="http://schemas.microsoft.com/office/drawing/2014/main" id="{94F75A3B-2BB4-969B-BF8F-F6147B86EC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3476687"/>
              </p:ext>
            </p:extLst>
          </p:nvPr>
        </p:nvGraphicFramePr>
        <p:xfrm>
          <a:off x="342824" y="86581"/>
          <a:ext cx="11620727" cy="237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1" name="Picture 10" descr="A drawing of a mountain with a river in the distance&#10;&#10;Description automatically generated">
            <a:extLst>
              <a:ext uri="{FF2B5EF4-FFF2-40B4-BE49-F238E27FC236}">
                <a16:creationId xmlns:a16="http://schemas.microsoft.com/office/drawing/2014/main" id="{720555FF-3CFF-4C54-9172-3249C315AF3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74" y="26398"/>
            <a:ext cx="365548" cy="36554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BE5B0A2-3414-1ED5-E9F4-82F09CF5BBC1}"/>
              </a:ext>
            </a:extLst>
          </p:cNvPr>
          <p:cNvSpPr txBox="1"/>
          <p:nvPr/>
        </p:nvSpPr>
        <p:spPr>
          <a:xfrm>
            <a:off x="7020560" y="1296818"/>
            <a:ext cx="2024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ON TRA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115CBC-5ABE-E3DC-497A-DAD973B5B17A}"/>
              </a:ext>
            </a:extLst>
          </p:cNvPr>
          <p:cNvSpPr txBox="1"/>
          <p:nvPr/>
        </p:nvSpPr>
        <p:spPr>
          <a:xfrm>
            <a:off x="10502765" y="1247611"/>
            <a:ext cx="15693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E-COMMERCE</a:t>
            </a:r>
          </a:p>
          <a:p>
            <a:endParaRPr lang="en-IN" sz="1200" b="1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4B4BC22-EEFA-9C25-69E6-6D21D2732EC0}"/>
              </a:ext>
            </a:extLst>
          </p:cNvPr>
          <p:cNvSpPr txBox="1"/>
          <p:nvPr/>
        </p:nvSpPr>
        <p:spPr>
          <a:xfrm>
            <a:off x="7105472" y="2884121"/>
            <a:ext cx="1344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D2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E2E151A-1CEE-921C-CF8B-D8637C407CF6}"/>
              </a:ext>
            </a:extLst>
          </p:cNvPr>
          <p:cNvSpPr txBox="1"/>
          <p:nvPr/>
        </p:nvSpPr>
        <p:spPr>
          <a:xfrm>
            <a:off x="10391554" y="2839691"/>
            <a:ext cx="16805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/>
              <a:t>HIGH-END RETAIL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249C7812-A698-40BB-E5E4-FBCA087FB249}"/>
              </a:ext>
            </a:extLst>
          </p:cNvPr>
          <p:cNvSpPr txBox="1">
            <a:spLocks/>
          </p:cNvSpPr>
          <p:nvPr/>
        </p:nvSpPr>
        <p:spPr>
          <a:xfrm>
            <a:off x="6924272" y="4471193"/>
            <a:ext cx="2768017" cy="5288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914418">
              <a:defRPr/>
            </a:pPr>
            <a:r>
              <a:rPr lang="en-US" sz="1600">
                <a:solidFill>
                  <a:srgbClr val="D1A33C"/>
                </a:solidFill>
              </a:rPr>
              <a:t>AD mock-up</a:t>
            </a:r>
            <a:r>
              <a:rPr lang="en-US" sz="1800">
                <a:solidFill>
                  <a:srgbClr val="D1A33C"/>
                </a:solidFill>
              </a:rPr>
              <a:t>	</a:t>
            </a:r>
          </a:p>
        </p:txBody>
      </p:sp>
      <p:sp>
        <p:nvSpPr>
          <p:cNvPr id="44" name="Title 5">
            <a:extLst>
              <a:ext uri="{FF2B5EF4-FFF2-40B4-BE49-F238E27FC236}">
                <a16:creationId xmlns:a16="http://schemas.microsoft.com/office/drawing/2014/main" id="{606DDDD0-57DC-29A2-B6EA-998FB88CCE15}"/>
              </a:ext>
            </a:extLst>
          </p:cNvPr>
          <p:cNvSpPr txBox="1">
            <a:spLocks/>
          </p:cNvSpPr>
          <p:nvPr/>
        </p:nvSpPr>
        <p:spPr>
          <a:xfrm>
            <a:off x="9525720" y="4513278"/>
            <a:ext cx="2317351" cy="5288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914418">
              <a:defRPr/>
            </a:pPr>
            <a:r>
              <a:rPr lang="en-US" sz="1600">
                <a:solidFill>
                  <a:srgbClr val="D1A33C"/>
                </a:solidFill>
              </a:rPr>
              <a:t>Brand Ambassador</a:t>
            </a:r>
            <a:r>
              <a:rPr lang="en-US" sz="1800">
                <a:solidFill>
                  <a:srgbClr val="D1A33C"/>
                </a:solidFill>
              </a:rPr>
              <a:t>	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2E33BC0-9EAF-4DAB-5471-B4E9B64C754B}"/>
              </a:ext>
            </a:extLst>
          </p:cNvPr>
          <p:cNvSpPr txBox="1"/>
          <p:nvPr/>
        </p:nvSpPr>
        <p:spPr>
          <a:xfrm>
            <a:off x="7020560" y="4849738"/>
            <a:ext cx="2442027" cy="1815882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l"/>
            <a:r>
              <a:rPr lang="en-US" sz="1400" b="1" i="1">
                <a:effectLst/>
              </a:rPr>
              <a:t>A father shares a glass of premium rice whiskey with his son for the first time. </a:t>
            </a:r>
            <a:endParaRPr lang="en-US" sz="1400" b="1" i="1"/>
          </a:p>
          <a:p>
            <a:pPr algn="l"/>
            <a:r>
              <a:rPr lang="en-US" sz="1400"/>
              <a:t>They </a:t>
            </a:r>
            <a:r>
              <a:rPr lang="en-US" sz="1400" err="1"/>
              <a:t>s</a:t>
            </a:r>
            <a:r>
              <a:rPr lang="en-US" sz="1400" i="0" err="1">
                <a:effectLst/>
              </a:rPr>
              <a:t>avour</a:t>
            </a:r>
            <a:r>
              <a:rPr lang="en-US" sz="1400" i="0">
                <a:effectLst/>
              </a:rPr>
              <a:t> the rich heritage and it a medium for intergenerational bonding, dispelling taboos and forging enduring memorie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D4BD92E-39C8-A30C-38FD-624F7E03F98A}"/>
              </a:ext>
            </a:extLst>
          </p:cNvPr>
          <p:cNvSpPr txBox="1"/>
          <p:nvPr/>
        </p:nvSpPr>
        <p:spPr>
          <a:xfrm>
            <a:off x="9525720" y="4829418"/>
            <a:ext cx="2229400" cy="1846659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600" b="1" i="1">
                <a:solidFill>
                  <a:srgbClr val="FF0000"/>
                </a:solidFill>
                <a:effectLst/>
                <a:latin typeface="Söhne"/>
              </a:rPr>
              <a:t>North-East Tourism!!</a:t>
            </a:r>
          </a:p>
          <a:p>
            <a:r>
              <a:rPr lang="en-US" sz="1400" b="0" i="0">
                <a:effectLst/>
                <a:latin typeface="Söhne"/>
              </a:rPr>
              <a:t>NE boasts diverse culture, stunning landscapes, and rich traditions. Partnering with North-East India Tourism promotes the economy of the states and is authentic 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572F276-C3C5-46CC-E6F8-773DD11C94E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66212" y="2336477"/>
            <a:ext cx="856263" cy="84803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4305611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13ECC3-77B8-154B-92B9-557532147F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34123" y="6533020"/>
            <a:ext cx="529428" cy="365125"/>
          </a:xfrm>
        </p:spPr>
        <p:txBody>
          <a:bodyPr/>
          <a:lstStyle/>
          <a:p>
            <a:fld id="{99E61589-955B-3549-AD19-CD847E0672F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2B16D94-726B-2657-F8EB-5024934B74CC}"/>
              </a:ext>
            </a:extLst>
          </p:cNvPr>
          <p:cNvSpPr txBox="1">
            <a:spLocks/>
          </p:cNvSpPr>
          <p:nvPr/>
        </p:nvSpPr>
        <p:spPr>
          <a:xfrm>
            <a:off x="265470" y="833352"/>
            <a:ext cx="11506351" cy="3651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 dirty="0">
                <a:solidFill>
                  <a:srgbClr val="D1A33C"/>
                </a:solidFill>
              </a:rPr>
              <a:t>Pricing						       Financial Viability and Breakeven Analysis 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1F8242F0-B77E-9ABB-FC57-637063575D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471" y="1185141"/>
            <a:ext cx="4171427" cy="2795322"/>
          </a:xfrm>
          <a:prstGeom prst="rect">
            <a:avLst/>
          </a:prstGeom>
          <a:noFill/>
          <a:ln w="19050">
            <a:solidFill>
              <a:schemeClr val="accent4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6ACC1AE6-430A-6608-79DB-554E4F67735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0822209"/>
              </p:ext>
            </p:extLst>
          </p:nvPr>
        </p:nvGraphicFramePr>
        <p:xfrm>
          <a:off x="6159741" y="1436522"/>
          <a:ext cx="5903912" cy="154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606646" imgH="1592470" progId="Excel.Sheet.12">
                  <p:embed/>
                </p:oleObj>
              </mc:Choice>
              <mc:Fallback>
                <p:oleObj name="Worksheet" r:id="rId4" imgW="6606646" imgH="1592470" progId="Excel.Sheet.12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6ACC1AE6-430A-6608-79DB-554E4F677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159741" y="1436522"/>
                        <a:ext cx="5903912" cy="154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92D28679-F196-9AA6-5C22-A0F8C77669AB}"/>
              </a:ext>
            </a:extLst>
          </p:cNvPr>
          <p:cNvSpPr txBox="1"/>
          <p:nvPr/>
        </p:nvSpPr>
        <p:spPr>
          <a:xfrm>
            <a:off x="6159741" y="1148540"/>
            <a:ext cx="59039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i="0" u="none" strike="noStrike">
                <a:solidFill>
                  <a:srgbClr val="000000"/>
                </a:solidFill>
                <a:effectLst/>
              </a:rPr>
              <a:t>Calculations for avg Premium whiskey(existing) - based on Q1 FY24</a:t>
            </a:r>
            <a:r>
              <a:rPr lang="en-US" sz="1400" b="1"/>
              <a:t> </a:t>
            </a:r>
            <a:endParaRPr lang="en-IN" sz="1400" b="1"/>
          </a:p>
        </p:txBody>
      </p:sp>
      <p:graphicFrame>
        <p:nvGraphicFramePr>
          <p:cNvPr id="17" name="Object 16">
            <a:extLst>
              <a:ext uri="{FF2B5EF4-FFF2-40B4-BE49-F238E27FC236}">
                <a16:creationId xmlns:a16="http://schemas.microsoft.com/office/drawing/2014/main" id="{10D83B45-4587-BA79-3B66-4DC8CBF631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8666176"/>
              </p:ext>
            </p:extLst>
          </p:nvPr>
        </p:nvGraphicFramePr>
        <p:xfrm>
          <a:off x="6159740" y="3018890"/>
          <a:ext cx="5903913" cy="1763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659809" imgH="1988679" progId="Excel.Sheet.12">
                  <p:embed/>
                </p:oleObj>
              </mc:Choice>
              <mc:Fallback>
                <p:oleObj name="Worksheet" r:id="rId6" imgW="6659809" imgH="1988679" progId="Excel.Sheet.12">
                  <p:embed/>
                  <p:pic>
                    <p:nvPicPr>
                      <p:cNvPr id="17" name="Object 16">
                        <a:extLst>
                          <a:ext uri="{FF2B5EF4-FFF2-40B4-BE49-F238E27FC236}">
                            <a16:creationId xmlns:a16="http://schemas.microsoft.com/office/drawing/2014/main" id="{10D83B45-4587-BA79-3B66-4DC8CBF63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59740" y="3018890"/>
                        <a:ext cx="5903913" cy="17637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ct 17">
            <a:extLst>
              <a:ext uri="{FF2B5EF4-FFF2-40B4-BE49-F238E27FC236}">
                <a16:creationId xmlns:a16="http://schemas.microsoft.com/office/drawing/2014/main" id="{21B4D2FA-4E24-B16F-2F90-8E9A899BD29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58296826"/>
              </p:ext>
            </p:extLst>
          </p:nvPr>
        </p:nvGraphicFramePr>
        <p:xfrm>
          <a:off x="6159740" y="4807232"/>
          <a:ext cx="5903914" cy="1862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659809" imgH="1988679" progId="Excel.Sheet.12">
                  <p:embed/>
                </p:oleObj>
              </mc:Choice>
              <mc:Fallback>
                <p:oleObj name="Worksheet" r:id="rId8" imgW="6659809" imgH="1988679" progId="Excel.Sheet.12">
                  <p:embed/>
                  <p:pic>
                    <p:nvPicPr>
                      <p:cNvPr id="18" name="Object 17">
                        <a:extLst>
                          <a:ext uri="{FF2B5EF4-FFF2-40B4-BE49-F238E27FC236}">
                            <a16:creationId xmlns:a16="http://schemas.microsoft.com/office/drawing/2014/main" id="{21B4D2FA-4E24-B16F-2F90-8E9A899BD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159740" y="4807232"/>
                        <a:ext cx="5903914" cy="1862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76AAE67-85A6-514A-64D0-FEF8108D7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2800287"/>
              </p:ext>
            </p:extLst>
          </p:nvPr>
        </p:nvGraphicFramePr>
        <p:xfrm>
          <a:off x="265472" y="5164307"/>
          <a:ext cx="3382755" cy="1017103"/>
        </p:xfrm>
        <a:graphic>
          <a:graphicData uri="http://schemas.openxmlformats.org/drawingml/2006/table">
            <a:tbl>
              <a:tblPr/>
              <a:tblGrid>
                <a:gridCol w="1545593">
                  <a:extLst>
                    <a:ext uri="{9D8B030D-6E8A-4147-A177-3AD203B41FA5}">
                      <a16:colId xmlns:a16="http://schemas.microsoft.com/office/drawing/2014/main" val="1352027436"/>
                    </a:ext>
                  </a:extLst>
                </a:gridCol>
                <a:gridCol w="874704">
                  <a:extLst>
                    <a:ext uri="{9D8B030D-6E8A-4147-A177-3AD203B41FA5}">
                      <a16:colId xmlns:a16="http://schemas.microsoft.com/office/drawing/2014/main" val="949210063"/>
                    </a:ext>
                  </a:extLst>
                </a:gridCol>
                <a:gridCol w="962458">
                  <a:extLst>
                    <a:ext uri="{9D8B030D-6E8A-4147-A177-3AD203B41FA5}">
                      <a16:colId xmlns:a16="http://schemas.microsoft.com/office/drawing/2014/main" val="2814635593"/>
                    </a:ext>
                  </a:extLst>
                </a:gridCol>
              </a:tblGrid>
              <a:tr h="275063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deal price from Van Westendorp model(INR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8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166892"/>
                  </a:ext>
                </a:extLst>
              </a:tr>
              <a:tr h="4296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kup added(since selling only in tier 1 metros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3827899"/>
                  </a:ext>
                </a:extLst>
              </a:tr>
              <a:tr h="275063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deal selling price(INR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4342138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2BC7F190-7A6A-0AE7-5200-1CEEA5A82A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7948128"/>
              </p:ext>
            </p:extLst>
          </p:nvPr>
        </p:nvGraphicFramePr>
        <p:xfrm>
          <a:off x="265470" y="4054412"/>
          <a:ext cx="3382757" cy="1097280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2108949">
                  <a:extLst>
                    <a:ext uri="{9D8B030D-6E8A-4147-A177-3AD203B41FA5}">
                      <a16:colId xmlns:a16="http://schemas.microsoft.com/office/drawing/2014/main" val="2379183893"/>
                    </a:ext>
                  </a:extLst>
                </a:gridCol>
                <a:gridCol w="1273808">
                  <a:extLst>
                    <a:ext uri="{9D8B030D-6E8A-4147-A177-3AD203B41FA5}">
                      <a16:colId xmlns:a16="http://schemas.microsoft.com/office/drawing/2014/main" val="950501990"/>
                    </a:ext>
                  </a:extLst>
                </a:gridCol>
              </a:tblGrid>
              <a:tr h="204833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400" b="0" u="none" strike="noStrike">
                          <a:effectLst/>
                        </a:rPr>
                        <a:t>Data and assumptions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2748964"/>
                  </a:ext>
                </a:extLst>
              </a:tr>
              <a:tr h="40260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u="none" strike="noStrike">
                          <a:effectLst/>
                        </a:rPr>
                        <a:t>Market Growth Rate(Whiskey)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9%</a:t>
                      </a:r>
                      <a:endParaRPr lang="en-IN" sz="1400" b="1" i="0" u="none" strike="noStrike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31704000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u="none" strike="noStrike">
                          <a:effectLst/>
                        </a:rPr>
                        <a:t>Inflation Rate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6.70%</a:t>
                      </a:r>
                      <a:endParaRPr lang="en-IN" sz="1400" b="1" i="0" u="none" strike="noStrike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93566411"/>
                  </a:ext>
                </a:extLst>
              </a:tr>
              <a:tr h="204833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u="none" strike="noStrike">
                          <a:effectLst/>
                        </a:rPr>
                        <a:t>% Var cost of Rev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54.13%</a:t>
                      </a:r>
                      <a:endParaRPr lang="en-IN" sz="1400" b="1" i="0" u="none" strike="noStrike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64253129"/>
                  </a:ext>
                </a:extLst>
              </a:tr>
            </a:tbl>
          </a:graphicData>
        </a:graphic>
      </p:graphicFrame>
      <p:sp>
        <p:nvSpPr>
          <p:cNvPr id="23" name="TextBox 22">
            <a:hlinkClick r:id="rId10" action="ppaction://hlinksldjump"/>
            <a:extLst>
              <a:ext uri="{FF2B5EF4-FFF2-40B4-BE49-F238E27FC236}">
                <a16:creationId xmlns:a16="http://schemas.microsoft.com/office/drawing/2014/main" id="{E96650FF-3D76-2180-42B3-881D0C9F15BD}"/>
              </a:ext>
            </a:extLst>
          </p:cNvPr>
          <p:cNvSpPr txBox="1"/>
          <p:nvPr/>
        </p:nvSpPr>
        <p:spPr>
          <a:xfrm>
            <a:off x="342824" y="482183"/>
            <a:ext cx="11506351" cy="3385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>
                <a:solidFill>
                  <a:srgbClr val="FF0000"/>
                </a:solidFill>
              </a:rPr>
              <a:t>Pricing is deliberately kept premium(INR 4524/SKU), with expected break-even in 3-6 years…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9436FFE-F025-CE85-0A59-A146D89CCCF8}"/>
              </a:ext>
            </a:extLst>
          </p:cNvPr>
          <p:cNvSpPr txBox="1"/>
          <p:nvPr/>
        </p:nvSpPr>
        <p:spPr>
          <a:xfrm>
            <a:off x="3775706" y="4195092"/>
            <a:ext cx="2256556" cy="2308324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600" b="1"/>
              <a:t>'Value-Based Pricing’ </a:t>
            </a:r>
            <a:r>
              <a:rPr lang="en-US" sz="1600"/>
              <a:t>compare to the price of premium whiskeys(e.g. Johnny Walker) in Mumbai/Bangalore, which sells at </a:t>
            </a:r>
            <a:r>
              <a:rPr lang="en-US" sz="1600" b="1">
                <a:solidFill>
                  <a:srgbClr val="FF0000"/>
                </a:solidFill>
              </a:rPr>
              <a:t>INR 5000</a:t>
            </a:r>
            <a:r>
              <a:rPr lang="en-US" sz="1600"/>
              <a:t>, and price our product slightly less</a:t>
            </a:r>
            <a:endParaRPr lang="en-IN" sz="16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EB25505-8AA8-0826-3C9B-D4BF7BEADE0F}"/>
              </a:ext>
            </a:extLst>
          </p:cNvPr>
          <p:cNvSpPr txBox="1"/>
          <p:nvPr/>
        </p:nvSpPr>
        <p:spPr>
          <a:xfrm>
            <a:off x="4500640" y="1171439"/>
            <a:ext cx="1595359" cy="2800767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en-IN" sz="1600" b="1"/>
              <a:t>According to Van </a:t>
            </a:r>
            <a:r>
              <a:rPr lang="en-IN" sz="1600" b="1" err="1"/>
              <a:t>Westendorp</a:t>
            </a:r>
            <a:r>
              <a:rPr lang="en-IN" sz="1600" b="1"/>
              <a:t> model</a:t>
            </a:r>
          </a:p>
          <a:p>
            <a:r>
              <a:rPr lang="en-IN" sz="1600"/>
              <a:t>Ideal pricing should be</a:t>
            </a:r>
            <a:r>
              <a:rPr lang="en-IN" sz="1600" b="1">
                <a:solidFill>
                  <a:srgbClr val="FF0000"/>
                </a:solidFill>
              </a:rPr>
              <a:t> INR 3480. </a:t>
            </a:r>
            <a:r>
              <a:rPr lang="en-IN" sz="1600"/>
              <a:t>The range of price should be INR 3340 to INR 378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F98BBC-6D54-BEF3-1572-4E5F0E8E8C23}"/>
              </a:ext>
            </a:extLst>
          </p:cNvPr>
          <p:cNvSpPr txBox="1"/>
          <p:nvPr/>
        </p:nvSpPr>
        <p:spPr>
          <a:xfrm>
            <a:off x="1184567" y="6273225"/>
            <a:ext cx="2591139" cy="523220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IN" sz="1400"/>
              <a:t>Detailed financials and assumption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088E3FE3-4B4F-94B6-9EBD-B67AE41B740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3063939"/>
              </p:ext>
            </p:extLst>
          </p:nvPr>
        </p:nvGraphicFramePr>
        <p:xfrm>
          <a:off x="3175682" y="6334972"/>
          <a:ext cx="650075" cy="56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1" imgW="914400" imgH="792360" progId="Excel.Sheet.12">
                  <p:embed/>
                </p:oleObj>
              </mc:Choice>
              <mc:Fallback>
                <p:oleObj name="Worksheet" showAsIcon="1" r:id="rId11" imgW="914400" imgH="792360" progId="Excel.Sheet.12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088E3FE3-4B4F-94B6-9EBD-B67AE41B74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5682" y="6334972"/>
                        <a:ext cx="650075" cy="56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DD5192D-AEDB-FEBE-D404-93A6CAC8FB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103451"/>
              </p:ext>
            </p:extLst>
          </p:nvPr>
        </p:nvGraphicFramePr>
        <p:xfrm>
          <a:off x="342824" y="86581"/>
          <a:ext cx="11620727" cy="237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7" name="Picture 6" descr="A drawing of a mountain with a river in the distance&#10;&#10;Description automatically generated">
            <a:extLst>
              <a:ext uri="{FF2B5EF4-FFF2-40B4-BE49-F238E27FC236}">
                <a16:creationId xmlns:a16="http://schemas.microsoft.com/office/drawing/2014/main" id="{3D472F50-FB8A-3B5B-E985-40B44AEE175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174" y="26398"/>
            <a:ext cx="365548" cy="365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262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13ECC3-77B8-154B-92B9-557532147F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E61589-955B-3549-AD19-CD847E0672F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A2B16D94-726B-2657-F8EB-5024934B74CC}"/>
              </a:ext>
            </a:extLst>
          </p:cNvPr>
          <p:cNvSpPr txBox="1">
            <a:spLocks/>
          </p:cNvSpPr>
          <p:nvPr/>
        </p:nvSpPr>
        <p:spPr>
          <a:xfrm>
            <a:off x="268686" y="862930"/>
            <a:ext cx="11506351" cy="3651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 dirty="0">
                <a:solidFill>
                  <a:srgbClr val="D1A33C"/>
                </a:solidFill>
              </a:rPr>
              <a:t>Way forward					A Roadmap of Sustainable Growth 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ED29B65-010E-36EE-4005-F44399CB72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2530116"/>
              </p:ext>
            </p:extLst>
          </p:nvPr>
        </p:nvGraphicFramePr>
        <p:xfrm>
          <a:off x="363143" y="1702776"/>
          <a:ext cx="4138127" cy="2218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161578E-C667-65D0-BDC1-69579883625F}"/>
              </a:ext>
            </a:extLst>
          </p:cNvPr>
          <p:cNvSpPr txBox="1"/>
          <p:nvPr/>
        </p:nvSpPr>
        <p:spPr>
          <a:xfrm>
            <a:off x="268686" y="1118230"/>
            <a:ext cx="4138127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IN" sz="1600">
                <a:solidFill>
                  <a:schemeClr val="bg2">
                    <a:lumMod val="25000"/>
                  </a:schemeClr>
                </a:solidFill>
              </a:rPr>
              <a:t>Which flavour would you like in your alcoholic beverage ?</a:t>
            </a:r>
          </a:p>
        </p:txBody>
      </p:sp>
      <p:sp>
        <p:nvSpPr>
          <p:cNvPr id="61" name="Title 5">
            <a:extLst>
              <a:ext uri="{FF2B5EF4-FFF2-40B4-BE49-F238E27FC236}">
                <a16:creationId xmlns:a16="http://schemas.microsoft.com/office/drawing/2014/main" id="{055A74DF-1D51-EC51-8EC8-6CD4F94A9FF5}"/>
              </a:ext>
            </a:extLst>
          </p:cNvPr>
          <p:cNvSpPr txBox="1">
            <a:spLocks/>
          </p:cNvSpPr>
          <p:nvPr/>
        </p:nvSpPr>
        <p:spPr>
          <a:xfrm>
            <a:off x="268685" y="3951983"/>
            <a:ext cx="11506351" cy="3651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418">
              <a:defRPr/>
            </a:pPr>
            <a:r>
              <a:rPr lang="en-US" sz="1800">
                <a:solidFill>
                  <a:srgbClr val="D1A33C"/>
                </a:solidFill>
              </a:rPr>
              <a:t>Challenges ahead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F9C22C6-40F7-EE98-922F-AA16481D146F}"/>
              </a:ext>
            </a:extLst>
          </p:cNvPr>
          <p:cNvSpPr txBox="1"/>
          <p:nvPr/>
        </p:nvSpPr>
        <p:spPr>
          <a:xfrm>
            <a:off x="342824" y="496882"/>
            <a:ext cx="11506351" cy="3385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>
                <a:solidFill>
                  <a:srgbClr val="FF0000"/>
                </a:solidFill>
              </a:rPr>
              <a:t>MODIVA presents an exciting future for </a:t>
            </a:r>
            <a:r>
              <a:rPr lang="en-IN" sz="1600" b="1" err="1">
                <a:solidFill>
                  <a:srgbClr val="FF0000"/>
                </a:solidFill>
              </a:rPr>
              <a:t>ABInBev’s</a:t>
            </a:r>
            <a:r>
              <a:rPr lang="en-IN" sz="1600" b="1">
                <a:solidFill>
                  <a:srgbClr val="FF0000"/>
                </a:solidFill>
              </a:rPr>
              <a:t> brand expansion in India- fuelled by sustainable growth…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01B4408-04A0-BDE4-269D-0AC32785DAA3}"/>
              </a:ext>
            </a:extLst>
          </p:cNvPr>
          <p:cNvSpPr/>
          <p:nvPr/>
        </p:nvSpPr>
        <p:spPr>
          <a:xfrm>
            <a:off x="342823" y="4272803"/>
            <a:ext cx="5350054" cy="497257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fontAlgn="base"/>
            <a:r>
              <a:rPr lang="en-US" sz="1600">
                <a:solidFill>
                  <a:schemeClr val="tx1"/>
                </a:solidFill>
              </a:rPr>
              <a:t>The launch of online sale and home delivery of liquor in certain states shall lead to</a:t>
            </a:r>
            <a:r>
              <a:rPr lang="en-US" sz="1600"/>
              <a:t>to market for consume</a:t>
            </a:r>
            <a:endParaRPr lang="en-US" sz="1600" b="0" i="0">
              <a:solidFill>
                <a:srgbClr val="000000"/>
              </a:solidFill>
              <a:effectLst/>
            </a:endParaRPr>
          </a:p>
        </p:txBody>
      </p:sp>
      <p:sp>
        <p:nvSpPr>
          <p:cNvPr id="4096" name="Rectangle 4095">
            <a:extLst>
              <a:ext uri="{FF2B5EF4-FFF2-40B4-BE49-F238E27FC236}">
                <a16:creationId xmlns:a16="http://schemas.microsoft.com/office/drawing/2014/main" id="{1473331E-9C67-E3EB-B8C3-12D3C076C5D2}"/>
              </a:ext>
            </a:extLst>
          </p:cNvPr>
          <p:cNvSpPr/>
          <p:nvPr/>
        </p:nvSpPr>
        <p:spPr>
          <a:xfrm>
            <a:off x="342824" y="4852476"/>
            <a:ext cx="5350053" cy="771365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fontAlgn="base"/>
            <a:r>
              <a:rPr lang="en-US" sz="1600">
                <a:solidFill>
                  <a:srgbClr val="000000"/>
                </a:solidFill>
              </a:rPr>
              <a:t>How to make the product more accessible. The decision as to whether keep it exclusively premium or make it more available</a:t>
            </a:r>
            <a:endParaRPr lang="en-US" sz="1600" b="0" i="0">
              <a:solidFill>
                <a:srgbClr val="000000"/>
              </a:solidFill>
              <a:effectLst/>
            </a:endParaRPr>
          </a:p>
        </p:txBody>
      </p:sp>
      <p:sp>
        <p:nvSpPr>
          <p:cNvPr id="4097" name="Rectangle 4096">
            <a:extLst>
              <a:ext uri="{FF2B5EF4-FFF2-40B4-BE49-F238E27FC236}">
                <a16:creationId xmlns:a16="http://schemas.microsoft.com/office/drawing/2014/main" id="{DB493241-F5B5-9AF9-61D5-531C2304C1A0}"/>
              </a:ext>
            </a:extLst>
          </p:cNvPr>
          <p:cNvSpPr/>
          <p:nvPr/>
        </p:nvSpPr>
        <p:spPr>
          <a:xfrm>
            <a:off x="342823" y="5739770"/>
            <a:ext cx="5350053" cy="497257"/>
          </a:xfrm>
          <a:prstGeom prst="rect">
            <a:avLst/>
          </a:prstGeom>
          <a:noFill/>
          <a:ln w="19050">
            <a:solidFill>
              <a:srgbClr val="D3A63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fontAlgn="base"/>
            <a:r>
              <a:rPr lang="en-US" sz="1600" b="0" i="0">
                <a:solidFill>
                  <a:srgbClr val="000000"/>
                </a:solidFill>
                <a:effectLst/>
              </a:rPr>
              <a:t>With increasing deman</a:t>
            </a:r>
            <a:r>
              <a:rPr lang="en-US" sz="1600">
                <a:solidFill>
                  <a:srgbClr val="000000"/>
                </a:solidFill>
              </a:rPr>
              <a:t>d, sourcing of all indigenous ingredients would become difficult </a:t>
            </a:r>
            <a:endParaRPr lang="en-US" sz="1600" b="0" i="0">
              <a:solidFill>
                <a:srgbClr val="000000"/>
              </a:solidFill>
              <a:effectLst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DCD06FB0-8A24-863B-86FD-54432E3D2A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2547958"/>
              </p:ext>
            </p:extLst>
          </p:nvPr>
        </p:nvGraphicFramePr>
        <p:xfrm>
          <a:off x="342824" y="86581"/>
          <a:ext cx="11620727" cy="237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9" name="Picture 8" descr="A drawing of a mountain with a river in the distance&#10;&#10;Description automatically generated">
            <a:extLst>
              <a:ext uri="{FF2B5EF4-FFF2-40B4-BE49-F238E27FC236}">
                <a16:creationId xmlns:a16="http://schemas.microsoft.com/office/drawing/2014/main" id="{A626E00A-E7CF-C4E8-D46A-53317FCAAA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74" y="26398"/>
            <a:ext cx="365548" cy="365548"/>
          </a:xfrm>
          <a:prstGeom prst="rect">
            <a:avLst/>
          </a:prstGeom>
        </p:spPr>
      </p:pic>
      <p:grpSp>
        <p:nvGrpSpPr>
          <p:cNvPr id="47" name="Google Shape;1450;p38">
            <a:extLst>
              <a:ext uri="{FF2B5EF4-FFF2-40B4-BE49-F238E27FC236}">
                <a16:creationId xmlns:a16="http://schemas.microsoft.com/office/drawing/2014/main" id="{DD477434-444D-B3C2-6A9D-5F9256689111}"/>
              </a:ext>
            </a:extLst>
          </p:cNvPr>
          <p:cNvGrpSpPr/>
          <p:nvPr/>
        </p:nvGrpSpPr>
        <p:grpSpPr>
          <a:xfrm>
            <a:off x="4448752" y="1817330"/>
            <a:ext cx="7657559" cy="5143564"/>
            <a:chOff x="317519" y="72577"/>
            <a:chExt cx="7958255" cy="5058566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48" name="Google Shape;1451;p38">
              <a:extLst>
                <a:ext uri="{FF2B5EF4-FFF2-40B4-BE49-F238E27FC236}">
                  <a16:creationId xmlns:a16="http://schemas.microsoft.com/office/drawing/2014/main" id="{108204D5-8A0D-2B24-F463-D2C3A43C7D68}"/>
                </a:ext>
              </a:extLst>
            </p:cNvPr>
            <p:cNvSpPr/>
            <p:nvPr/>
          </p:nvSpPr>
          <p:spPr>
            <a:xfrm>
              <a:off x="317519" y="72577"/>
              <a:ext cx="7958255" cy="5058566"/>
            </a:xfrm>
            <a:custGeom>
              <a:avLst/>
              <a:gdLst/>
              <a:ahLst/>
              <a:cxnLst/>
              <a:rect l="l" t="t" r="r" b="b"/>
              <a:pathLst>
                <a:path w="239280" h="160724" extrusionOk="0">
                  <a:moveTo>
                    <a:pt x="0" y="160723"/>
                  </a:moveTo>
                  <a:lnTo>
                    <a:pt x="178630" y="102192"/>
                  </a:lnTo>
                  <a:cubicBezTo>
                    <a:pt x="180404" y="101656"/>
                    <a:pt x="180618" y="99596"/>
                    <a:pt x="178951" y="98811"/>
                  </a:cubicBezTo>
                  <a:lnTo>
                    <a:pt x="119694" y="71843"/>
                  </a:lnTo>
                  <a:lnTo>
                    <a:pt x="113717" y="69105"/>
                  </a:lnTo>
                  <a:cubicBezTo>
                    <a:pt x="110585" y="67688"/>
                    <a:pt x="111121" y="63842"/>
                    <a:pt x="114574" y="63032"/>
                  </a:cubicBezTo>
                  <a:lnTo>
                    <a:pt x="120801" y="61568"/>
                  </a:lnTo>
                  <a:lnTo>
                    <a:pt x="216051" y="39232"/>
                  </a:lnTo>
                  <a:cubicBezTo>
                    <a:pt x="217253" y="38946"/>
                    <a:pt x="217361" y="37529"/>
                    <a:pt x="216158" y="37136"/>
                  </a:cubicBezTo>
                  <a:lnTo>
                    <a:pt x="160877" y="19027"/>
                  </a:lnTo>
                  <a:lnTo>
                    <a:pt x="160806" y="18991"/>
                  </a:lnTo>
                  <a:cubicBezTo>
                    <a:pt x="159425" y="18527"/>
                    <a:pt x="159460" y="16860"/>
                    <a:pt x="160913" y="16467"/>
                  </a:cubicBezTo>
                  <a:lnTo>
                    <a:pt x="160913" y="16467"/>
                  </a:lnTo>
                  <a:lnTo>
                    <a:pt x="221278" y="1"/>
                  </a:lnTo>
                  <a:lnTo>
                    <a:pt x="168855" y="16932"/>
                  </a:lnTo>
                  <a:cubicBezTo>
                    <a:pt x="168069" y="17182"/>
                    <a:pt x="168069" y="18110"/>
                    <a:pt x="168890" y="18313"/>
                  </a:cubicBezTo>
                  <a:lnTo>
                    <a:pt x="233791" y="35708"/>
                  </a:lnTo>
                  <a:lnTo>
                    <a:pt x="236399" y="36422"/>
                  </a:lnTo>
                  <a:cubicBezTo>
                    <a:pt x="239244" y="37172"/>
                    <a:pt x="239280" y="40518"/>
                    <a:pt x="236434" y="41327"/>
                  </a:cubicBezTo>
                  <a:lnTo>
                    <a:pt x="233625" y="42078"/>
                  </a:lnTo>
                  <a:lnTo>
                    <a:pt x="144875" y="66652"/>
                  </a:lnTo>
                  <a:cubicBezTo>
                    <a:pt x="143351" y="67081"/>
                    <a:pt x="143244" y="68795"/>
                    <a:pt x="144661" y="69355"/>
                  </a:cubicBezTo>
                  <a:lnTo>
                    <a:pt x="210360" y="95322"/>
                  </a:lnTo>
                  <a:lnTo>
                    <a:pt x="220313" y="99239"/>
                  </a:lnTo>
                  <a:cubicBezTo>
                    <a:pt x="223802" y="100620"/>
                    <a:pt x="223623" y="104788"/>
                    <a:pt x="220063" y="105990"/>
                  </a:cubicBezTo>
                  <a:lnTo>
                    <a:pt x="209431" y="109550"/>
                  </a:lnTo>
                  <a:lnTo>
                    <a:pt x="53197" y="160723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452;p38">
              <a:extLst>
                <a:ext uri="{FF2B5EF4-FFF2-40B4-BE49-F238E27FC236}">
                  <a16:creationId xmlns:a16="http://schemas.microsoft.com/office/drawing/2014/main" id="{7E4A0A9D-8640-5A0E-15FD-8CD1EA9DC072}"/>
                </a:ext>
              </a:extLst>
            </p:cNvPr>
            <p:cNvSpPr/>
            <p:nvPr/>
          </p:nvSpPr>
          <p:spPr>
            <a:xfrm>
              <a:off x="2445901" y="4711376"/>
              <a:ext cx="143659" cy="69381"/>
            </a:xfrm>
            <a:custGeom>
              <a:avLst/>
              <a:gdLst/>
              <a:ahLst/>
              <a:cxnLst/>
              <a:rect l="l" t="t" r="r" b="b"/>
              <a:pathLst>
                <a:path w="4489" h="2168" extrusionOk="0">
                  <a:moveTo>
                    <a:pt x="4203" y="0"/>
                  </a:moveTo>
                  <a:lnTo>
                    <a:pt x="0" y="1346"/>
                  </a:lnTo>
                  <a:lnTo>
                    <a:pt x="286" y="2167"/>
                  </a:lnTo>
                  <a:lnTo>
                    <a:pt x="4489" y="810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453;p38">
              <a:extLst>
                <a:ext uri="{FF2B5EF4-FFF2-40B4-BE49-F238E27FC236}">
                  <a16:creationId xmlns:a16="http://schemas.microsoft.com/office/drawing/2014/main" id="{2260DBB1-84AA-8605-BEED-A5ED17C91D2B}"/>
                </a:ext>
              </a:extLst>
            </p:cNvPr>
            <p:cNvSpPr/>
            <p:nvPr/>
          </p:nvSpPr>
          <p:spPr>
            <a:xfrm>
              <a:off x="2715647" y="4626027"/>
              <a:ext cx="142539" cy="69381"/>
            </a:xfrm>
            <a:custGeom>
              <a:avLst/>
              <a:gdLst/>
              <a:ahLst/>
              <a:cxnLst/>
              <a:rect l="l" t="t" r="r" b="b"/>
              <a:pathLst>
                <a:path w="4454" h="2168" extrusionOk="0">
                  <a:moveTo>
                    <a:pt x="4204" y="0"/>
                  </a:moveTo>
                  <a:lnTo>
                    <a:pt x="1" y="1346"/>
                  </a:lnTo>
                  <a:lnTo>
                    <a:pt x="251" y="2167"/>
                  </a:lnTo>
                  <a:lnTo>
                    <a:pt x="4454" y="810"/>
                  </a:lnTo>
                  <a:lnTo>
                    <a:pt x="42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454;p38">
              <a:extLst>
                <a:ext uri="{FF2B5EF4-FFF2-40B4-BE49-F238E27FC236}">
                  <a16:creationId xmlns:a16="http://schemas.microsoft.com/office/drawing/2014/main" id="{0AE37713-F8FD-37A1-7690-AFDDC99DD5ED}"/>
                </a:ext>
              </a:extLst>
            </p:cNvPr>
            <p:cNvSpPr/>
            <p:nvPr/>
          </p:nvSpPr>
          <p:spPr>
            <a:xfrm>
              <a:off x="2984272" y="4540677"/>
              <a:ext cx="143691" cy="68229"/>
            </a:xfrm>
            <a:custGeom>
              <a:avLst/>
              <a:gdLst/>
              <a:ahLst/>
              <a:cxnLst/>
              <a:rect l="l" t="t" r="r" b="b"/>
              <a:pathLst>
                <a:path w="4490" h="2132" extrusionOk="0">
                  <a:moveTo>
                    <a:pt x="4204" y="0"/>
                  </a:moveTo>
                  <a:lnTo>
                    <a:pt x="1" y="1310"/>
                  </a:lnTo>
                  <a:lnTo>
                    <a:pt x="251" y="2132"/>
                  </a:lnTo>
                  <a:lnTo>
                    <a:pt x="4489" y="774"/>
                  </a:lnTo>
                  <a:lnTo>
                    <a:pt x="42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455;p38">
              <a:extLst>
                <a:ext uri="{FF2B5EF4-FFF2-40B4-BE49-F238E27FC236}">
                  <a16:creationId xmlns:a16="http://schemas.microsoft.com/office/drawing/2014/main" id="{687D9DBE-AE2E-E1DF-296E-0E946DF4CA69}"/>
                </a:ext>
              </a:extLst>
            </p:cNvPr>
            <p:cNvSpPr/>
            <p:nvPr/>
          </p:nvSpPr>
          <p:spPr>
            <a:xfrm>
              <a:off x="3254049" y="4454944"/>
              <a:ext cx="142539" cy="68613"/>
            </a:xfrm>
            <a:custGeom>
              <a:avLst/>
              <a:gdLst/>
              <a:ahLst/>
              <a:cxnLst/>
              <a:rect l="l" t="t" r="r" b="b"/>
              <a:pathLst>
                <a:path w="4454" h="2144" extrusionOk="0">
                  <a:moveTo>
                    <a:pt x="4203" y="0"/>
                  </a:moveTo>
                  <a:lnTo>
                    <a:pt x="0" y="1322"/>
                  </a:lnTo>
                  <a:lnTo>
                    <a:pt x="250" y="2144"/>
                  </a:lnTo>
                  <a:lnTo>
                    <a:pt x="4453" y="786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456;p38">
              <a:extLst>
                <a:ext uri="{FF2B5EF4-FFF2-40B4-BE49-F238E27FC236}">
                  <a16:creationId xmlns:a16="http://schemas.microsoft.com/office/drawing/2014/main" id="{71C8AE02-BC07-779B-CE81-757428669C9A}"/>
                </a:ext>
              </a:extLst>
            </p:cNvPr>
            <p:cNvSpPr/>
            <p:nvPr/>
          </p:nvSpPr>
          <p:spPr>
            <a:xfrm>
              <a:off x="1393865" y="5045926"/>
              <a:ext cx="143691" cy="69349"/>
            </a:xfrm>
            <a:custGeom>
              <a:avLst/>
              <a:gdLst/>
              <a:ahLst/>
              <a:cxnLst/>
              <a:rect l="l" t="t" r="r" b="b"/>
              <a:pathLst>
                <a:path w="4490" h="2167" extrusionOk="0">
                  <a:moveTo>
                    <a:pt x="4204" y="0"/>
                  </a:moveTo>
                  <a:lnTo>
                    <a:pt x="1" y="1345"/>
                  </a:lnTo>
                  <a:lnTo>
                    <a:pt x="287" y="2167"/>
                  </a:lnTo>
                  <a:lnTo>
                    <a:pt x="4490" y="810"/>
                  </a:lnTo>
                  <a:lnTo>
                    <a:pt x="42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457;p38">
              <a:extLst>
                <a:ext uri="{FF2B5EF4-FFF2-40B4-BE49-F238E27FC236}">
                  <a16:creationId xmlns:a16="http://schemas.microsoft.com/office/drawing/2014/main" id="{A8E021AF-AFB2-8CDB-D343-9B2539A8CEEB}"/>
                </a:ext>
              </a:extLst>
            </p:cNvPr>
            <p:cNvSpPr/>
            <p:nvPr/>
          </p:nvSpPr>
          <p:spPr>
            <a:xfrm>
              <a:off x="1664027" y="4960576"/>
              <a:ext cx="142155" cy="69349"/>
            </a:xfrm>
            <a:custGeom>
              <a:avLst/>
              <a:gdLst/>
              <a:ahLst/>
              <a:cxnLst/>
              <a:rect l="l" t="t" r="r" b="b"/>
              <a:pathLst>
                <a:path w="4442" h="2167" extrusionOk="0">
                  <a:moveTo>
                    <a:pt x="4192" y="0"/>
                  </a:moveTo>
                  <a:lnTo>
                    <a:pt x="1" y="1345"/>
                  </a:lnTo>
                  <a:lnTo>
                    <a:pt x="239" y="2167"/>
                  </a:lnTo>
                  <a:lnTo>
                    <a:pt x="4442" y="810"/>
                  </a:lnTo>
                  <a:lnTo>
                    <a:pt x="4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458;p38">
              <a:extLst>
                <a:ext uri="{FF2B5EF4-FFF2-40B4-BE49-F238E27FC236}">
                  <a16:creationId xmlns:a16="http://schemas.microsoft.com/office/drawing/2014/main" id="{E015DD22-B91A-ADED-F7FC-0A09B48CB17D}"/>
                </a:ext>
              </a:extLst>
            </p:cNvPr>
            <p:cNvSpPr/>
            <p:nvPr/>
          </p:nvSpPr>
          <p:spPr>
            <a:xfrm>
              <a:off x="1932652" y="4875227"/>
              <a:ext cx="143307" cy="68229"/>
            </a:xfrm>
            <a:custGeom>
              <a:avLst/>
              <a:gdLst/>
              <a:ahLst/>
              <a:cxnLst/>
              <a:rect l="l" t="t" r="r" b="b"/>
              <a:pathLst>
                <a:path w="4478" h="2132" extrusionOk="0">
                  <a:moveTo>
                    <a:pt x="4191" y="0"/>
                  </a:moveTo>
                  <a:lnTo>
                    <a:pt x="0" y="1310"/>
                  </a:lnTo>
                  <a:lnTo>
                    <a:pt x="239" y="2131"/>
                  </a:lnTo>
                  <a:lnTo>
                    <a:pt x="4477" y="774"/>
                  </a:lnTo>
                  <a:lnTo>
                    <a:pt x="41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459;p38">
              <a:extLst>
                <a:ext uri="{FF2B5EF4-FFF2-40B4-BE49-F238E27FC236}">
                  <a16:creationId xmlns:a16="http://schemas.microsoft.com/office/drawing/2014/main" id="{D75D6EFA-B84F-D489-D207-DCB03A9B3466}"/>
                </a:ext>
              </a:extLst>
            </p:cNvPr>
            <p:cNvSpPr/>
            <p:nvPr/>
          </p:nvSpPr>
          <p:spPr>
            <a:xfrm>
              <a:off x="2202430" y="4789877"/>
              <a:ext cx="142123" cy="68229"/>
            </a:xfrm>
            <a:custGeom>
              <a:avLst/>
              <a:gdLst/>
              <a:ahLst/>
              <a:cxnLst/>
              <a:rect l="l" t="t" r="r" b="b"/>
              <a:pathLst>
                <a:path w="4441" h="2132" extrusionOk="0">
                  <a:moveTo>
                    <a:pt x="4191" y="0"/>
                  </a:moveTo>
                  <a:lnTo>
                    <a:pt x="0" y="1310"/>
                  </a:lnTo>
                  <a:lnTo>
                    <a:pt x="238" y="2131"/>
                  </a:lnTo>
                  <a:lnTo>
                    <a:pt x="4441" y="774"/>
                  </a:lnTo>
                  <a:lnTo>
                    <a:pt x="41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460;p38">
              <a:extLst>
                <a:ext uri="{FF2B5EF4-FFF2-40B4-BE49-F238E27FC236}">
                  <a16:creationId xmlns:a16="http://schemas.microsoft.com/office/drawing/2014/main" id="{20078F2E-95E1-E9C4-9F4D-79364895AC38}"/>
                </a:ext>
              </a:extLst>
            </p:cNvPr>
            <p:cNvSpPr/>
            <p:nvPr/>
          </p:nvSpPr>
          <p:spPr>
            <a:xfrm>
              <a:off x="3522675" y="4369594"/>
              <a:ext cx="142507" cy="67461"/>
            </a:xfrm>
            <a:custGeom>
              <a:avLst/>
              <a:gdLst/>
              <a:ahLst/>
              <a:cxnLst/>
              <a:rect l="l" t="t" r="r" b="b"/>
              <a:pathLst>
                <a:path w="4453" h="2108" extrusionOk="0">
                  <a:moveTo>
                    <a:pt x="4203" y="0"/>
                  </a:moveTo>
                  <a:lnTo>
                    <a:pt x="0" y="1322"/>
                  </a:lnTo>
                  <a:lnTo>
                    <a:pt x="250" y="2108"/>
                  </a:lnTo>
                  <a:lnTo>
                    <a:pt x="4453" y="751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461;p38">
              <a:extLst>
                <a:ext uri="{FF2B5EF4-FFF2-40B4-BE49-F238E27FC236}">
                  <a16:creationId xmlns:a16="http://schemas.microsoft.com/office/drawing/2014/main" id="{D1610C1B-641D-99B7-DF93-578B29914F24}"/>
                </a:ext>
              </a:extLst>
            </p:cNvPr>
            <p:cNvSpPr/>
            <p:nvPr/>
          </p:nvSpPr>
          <p:spPr>
            <a:xfrm>
              <a:off x="3792420" y="4283092"/>
              <a:ext cx="142539" cy="67493"/>
            </a:xfrm>
            <a:custGeom>
              <a:avLst/>
              <a:gdLst/>
              <a:ahLst/>
              <a:cxnLst/>
              <a:rect l="l" t="t" r="r" b="b"/>
              <a:pathLst>
                <a:path w="4454" h="2109" extrusionOk="0">
                  <a:moveTo>
                    <a:pt x="4204" y="1"/>
                  </a:moveTo>
                  <a:lnTo>
                    <a:pt x="1" y="1358"/>
                  </a:lnTo>
                  <a:lnTo>
                    <a:pt x="251" y="2108"/>
                  </a:lnTo>
                  <a:lnTo>
                    <a:pt x="4454" y="787"/>
                  </a:lnTo>
                  <a:lnTo>
                    <a:pt x="42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462;p38">
              <a:extLst>
                <a:ext uri="{FF2B5EF4-FFF2-40B4-BE49-F238E27FC236}">
                  <a16:creationId xmlns:a16="http://schemas.microsoft.com/office/drawing/2014/main" id="{04D821BC-DE9E-F5A8-2D99-3E1C5A7CE1D2}"/>
                </a:ext>
              </a:extLst>
            </p:cNvPr>
            <p:cNvSpPr/>
            <p:nvPr/>
          </p:nvSpPr>
          <p:spPr>
            <a:xfrm>
              <a:off x="4061046" y="4197743"/>
              <a:ext cx="142539" cy="67493"/>
            </a:xfrm>
            <a:custGeom>
              <a:avLst/>
              <a:gdLst/>
              <a:ahLst/>
              <a:cxnLst/>
              <a:rect l="l" t="t" r="r" b="b"/>
              <a:pathLst>
                <a:path w="4454" h="2109" extrusionOk="0">
                  <a:moveTo>
                    <a:pt x="4204" y="1"/>
                  </a:moveTo>
                  <a:lnTo>
                    <a:pt x="1" y="1358"/>
                  </a:lnTo>
                  <a:lnTo>
                    <a:pt x="251" y="2108"/>
                  </a:lnTo>
                  <a:lnTo>
                    <a:pt x="4454" y="751"/>
                  </a:lnTo>
                  <a:lnTo>
                    <a:pt x="42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463;p38">
              <a:extLst>
                <a:ext uri="{FF2B5EF4-FFF2-40B4-BE49-F238E27FC236}">
                  <a16:creationId xmlns:a16="http://schemas.microsoft.com/office/drawing/2014/main" id="{25FE5133-DB84-5B80-41ED-47FB4CFA8848}"/>
                </a:ext>
              </a:extLst>
            </p:cNvPr>
            <p:cNvSpPr/>
            <p:nvPr/>
          </p:nvSpPr>
          <p:spPr>
            <a:xfrm>
              <a:off x="4330823" y="4112393"/>
              <a:ext cx="142539" cy="66341"/>
            </a:xfrm>
            <a:custGeom>
              <a:avLst/>
              <a:gdLst/>
              <a:ahLst/>
              <a:cxnLst/>
              <a:rect l="l" t="t" r="r" b="b"/>
              <a:pathLst>
                <a:path w="4454" h="2073" extrusionOk="0">
                  <a:moveTo>
                    <a:pt x="4203" y="1"/>
                  </a:moveTo>
                  <a:lnTo>
                    <a:pt x="0" y="1358"/>
                  </a:lnTo>
                  <a:lnTo>
                    <a:pt x="215" y="2072"/>
                  </a:lnTo>
                  <a:lnTo>
                    <a:pt x="4453" y="715"/>
                  </a:lnTo>
                  <a:lnTo>
                    <a:pt x="420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8" name="Google Shape;1464;p38">
              <a:extLst>
                <a:ext uri="{FF2B5EF4-FFF2-40B4-BE49-F238E27FC236}">
                  <a16:creationId xmlns:a16="http://schemas.microsoft.com/office/drawing/2014/main" id="{CB3DAD98-B77A-EC34-7687-0DA72FADE4EC}"/>
                </a:ext>
              </a:extLst>
            </p:cNvPr>
            <p:cNvSpPr/>
            <p:nvPr/>
          </p:nvSpPr>
          <p:spPr>
            <a:xfrm>
              <a:off x="4599448" y="4027044"/>
              <a:ext cx="142539" cy="66341"/>
            </a:xfrm>
            <a:custGeom>
              <a:avLst/>
              <a:gdLst/>
              <a:ahLst/>
              <a:cxnLst/>
              <a:rect l="l" t="t" r="r" b="b"/>
              <a:pathLst>
                <a:path w="4454" h="2073" extrusionOk="0">
                  <a:moveTo>
                    <a:pt x="4239" y="1"/>
                  </a:moveTo>
                  <a:lnTo>
                    <a:pt x="0" y="1358"/>
                  </a:lnTo>
                  <a:lnTo>
                    <a:pt x="250" y="2072"/>
                  </a:lnTo>
                  <a:lnTo>
                    <a:pt x="4453" y="715"/>
                  </a:lnTo>
                  <a:lnTo>
                    <a:pt x="42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9" name="Google Shape;1465;p38">
              <a:extLst>
                <a:ext uri="{FF2B5EF4-FFF2-40B4-BE49-F238E27FC236}">
                  <a16:creationId xmlns:a16="http://schemas.microsoft.com/office/drawing/2014/main" id="{87DAB821-ECD1-BB9E-7EBB-EC88CAC71886}"/>
                </a:ext>
              </a:extLst>
            </p:cNvPr>
            <p:cNvSpPr/>
            <p:nvPr/>
          </p:nvSpPr>
          <p:spPr>
            <a:xfrm>
              <a:off x="4869194" y="3941694"/>
              <a:ext cx="141387" cy="64805"/>
            </a:xfrm>
            <a:custGeom>
              <a:avLst/>
              <a:gdLst/>
              <a:ahLst/>
              <a:cxnLst/>
              <a:rect l="l" t="t" r="r" b="b"/>
              <a:pathLst>
                <a:path w="4418" h="2025" extrusionOk="0">
                  <a:moveTo>
                    <a:pt x="4204" y="1"/>
                  </a:moveTo>
                  <a:lnTo>
                    <a:pt x="1" y="1322"/>
                  </a:lnTo>
                  <a:lnTo>
                    <a:pt x="215" y="2025"/>
                  </a:lnTo>
                  <a:lnTo>
                    <a:pt x="4418" y="679"/>
                  </a:lnTo>
                  <a:lnTo>
                    <a:pt x="42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0" name="Google Shape;1466;p38">
              <a:extLst>
                <a:ext uri="{FF2B5EF4-FFF2-40B4-BE49-F238E27FC236}">
                  <a16:creationId xmlns:a16="http://schemas.microsoft.com/office/drawing/2014/main" id="{55835A52-3B14-502B-6275-6BB56E042862}"/>
                </a:ext>
              </a:extLst>
            </p:cNvPr>
            <p:cNvSpPr/>
            <p:nvPr/>
          </p:nvSpPr>
          <p:spPr>
            <a:xfrm>
              <a:off x="5137819" y="3856345"/>
              <a:ext cx="142539" cy="64805"/>
            </a:xfrm>
            <a:custGeom>
              <a:avLst/>
              <a:gdLst/>
              <a:ahLst/>
              <a:cxnLst/>
              <a:rect l="l" t="t" r="r" b="b"/>
              <a:pathLst>
                <a:path w="4454" h="2025" extrusionOk="0">
                  <a:moveTo>
                    <a:pt x="4239" y="1"/>
                  </a:moveTo>
                  <a:lnTo>
                    <a:pt x="1" y="1322"/>
                  </a:lnTo>
                  <a:lnTo>
                    <a:pt x="215" y="2025"/>
                  </a:lnTo>
                  <a:lnTo>
                    <a:pt x="4454" y="679"/>
                  </a:lnTo>
                  <a:lnTo>
                    <a:pt x="42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1" name="Google Shape;1467;p38">
              <a:extLst>
                <a:ext uri="{FF2B5EF4-FFF2-40B4-BE49-F238E27FC236}">
                  <a16:creationId xmlns:a16="http://schemas.microsoft.com/office/drawing/2014/main" id="{894FA7C5-DAFF-1939-975A-8CB7FCD95A0D}"/>
                </a:ext>
              </a:extLst>
            </p:cNvPr>
            <p:cNvSpPr/>
            <p:nvPr/>
          </p:nvSpPr>
          <p:spPr>
            <a:xfrm>
              <a:off x="5407596" y="3770995"/>
              <a:ext cx="141387" cy="63685"/>
            </a:xfrm>
            <a:custGeom>
              <a:avLst/>
              <a:gdLst/>
              <a:ahLst/>
              <a:cxnLst/>
              <a:rect l="l" t="t" r="r" b="b"/>
              <a:pathLst>
                <a:path w="4418" h="1990" extrusionOk="0">
                  <a:moveTo>
                    <a:pt x="4203" y="1"/>
                  </a:moveTo>
                  <a:lnTo>
                    <a:pt x="0" y="1322"/>
                  </a:lnTo>
                  <a:lnTo>
                    <a:pt x="215" y="1989"/>
                  </a:lnTo>
                  <a:lnTo>
                    <a:pt x="4418" y="644"/>
                  </a:lnTo>
                  <a:lnTo>
                    <a:pt x="420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2" name="Google Shape;1468;p38">
              <a:extLst>
                <a:ext uri="{FF2B5EF4-FFF2-40B4-BE49-F238E27FC236}">
                  <a16:creationId xmlns:a16="http://schemas.microsoft.com/office/drawing/2014/main" id="{F6B00F26-FA3F-09E2-2997-56ABE6EC76CC}"/>
                </a:ext>
              </a:extLst>
            </p:cNvPr>
            <p:cNvSpPr/>
            <p:nvPr/>
          </p:nvSpPr>
          <p:spPr>
            <a:xfrm>
              <a:off x="5676222" y="3684526"/>
              <a:ext cx="141387" cy="63653"/>
            </a:xfrm>
            <a:custGeom>
              <a:avLst/>
              <a:gdLst/>
              <a:ahLst/>
              <a:cxnLst/>
              <a:rect l="l" t="t" r="r" b="b"/>
              <a:pathLst>
                <a:path w="4418" h="1989" extrusionOk="0">
                  <a:moveTo>
                    <a:pt x="4239" y="0"/>
                  </a:moveTo>
                  <a:lnTo>
                    <a:pt x="0" y="1357"/>
                  </a:lnTo>
                  <a:lnTo>
                    <a:pt x="215" y="1988"/>
                  </a:lnTo>
                  <a:lnTo>
                    <a:pt x="4418" y="679"/>
                  </a:lnTo>
                  <a:lnTo>
                    <a:pt x="42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3" name="Google Shape;1469;p38">
              <a:extLst>
                <a:ext uri="{FF2B5EF4-FFF2-40B4-BE49-F238E27FC236}">
                  <a16:creationId xmlns:a16="http://schemas.microsoft.com/office/drawing/2014/main" id="{CFB0BF0E-8A29-A17D-C48B-55E61D954F2B}"/>
                </a:ext>
              </a:extLst>
            </p:cNvPr>
            <p:cNvSpPr/>
            <p:nvPr/>
          </p:nvSpPr>
          <p:spPr>
            <a:xfrm>
              <a:off x="5945967" y="3599176"/>
              <a:ext cx="141419" cy="63653"/>
            </a:xfrm>
            <a:custGeom>
              <a:avLst/>
              <a:gdLst/>
              <a:ahLst/>
              <a:cxnLst/>
              <a:rect l="l" t="t" r="r" b="b"/>
              <a:pathLst>
                <a:path w="4419" h="1989" extrusionOk="0">
                  <a:moveTo>
                    <a:pt x="4204" y="0"/>
                  </a:moveTo>
                  <a:lnTo>
                    <a:pt x="1" y="1357"/>
                  </a:lnTo>
                  <a:lnTo>
                    <a:pt x="215" y="1988"/>
                  </a:lnTo>
                  <a:lnTo>
                    <a:pt x="4418" y="643"/>
                  </a:lnTo>
                  <a:lnTo>
                    <a:pt x="42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4" name="Google Shape;1470;p38">
              <a:extLst>
                <a:ext uri="{FF2B5EF4-FFF2-40B4-BE49-F238E27FC236}">
                  <a16:creationId xmlns:a16="http://schemas.microsoft.com/office/drawing/2014/main" id="{B6C325AC-95B4-17C4-C28B-6A80D26CFE83}"/>
                </a:ext>
              </a:extLst>
            </p:cNvPr>
            <p:cNvSpPr/>
            <p:nvPr/>
          </p:nvSpPr>
          <p:spPr>
            <a:xfrm>
              <a:off x="6214593" y="3513827"/>
              <a:ext cx="141387" cy="62501"/>
            </a:xfrm>
            <a:custGeom>
              <a:avLst/>
              <a:gdLst/>
              <a:ahLst/>
              <a:cxnLst/>
              <a:rect l="l" t="t" r="r" b="b"/>
              <a:pathLst>
                <a:path w="4418" h="1953" extrusionOk="0">
                  <a:moveTo>
                    <a:pt x="4239" y="0"/>
                  </a:moveTo>
                  <a:lnTo>
                    <a:pt x="1" y="1346"/>
                  </a:lnTo>
                  <a:lnTo>
                    <a:pt x="215" y="1953"/>
                  </a:lnTo>
                  <a:lnTo>
                    <a:pt x="4418" y="643"/>
                  </a:lnTo>
                  <a:lnTo>
                    <a:pt x="42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5" name="Google Shape;1471;p38">
              <a:extLst>
                <a:ext uri="{FF2B5EF4-FFF2-40B4-BE49-F238E27FC236}">
                  <a16:creationId xmlns:a16="http://schemas.microsoft.com/office/drawing/2014/main" id="{50B5C742-4D93-FF47-5E22-02182C64D06D}"/>
                </a:ext>
              </a:extLst>
            </p:cNvPr>
            <p:cNvSpPr/>
            <p:nvPr/>
          </p:nvSpPr>
          <p:spPr>
            <a:xfrm>
              <a:off x="6484370" y="3428477"/>
              <a:ext cx="141387" cy="62501"/>
            </a:xfrm>
            <a:custGeom>
              <a:avLst/>
              <a:gdLst/>
              <a:ahLst/>
              <a:cxnLst/>
              <a:rect l="l" t="t" r="r" b="b"/>
              <a:pathLst>
                <a:path w="4418" h="1953" extrusionOk="0">
                  <a:moveTo>
                    <a:pt x="4203" y="0"/>
                  </a:moveTo>
                  <a:lnTo>
                    <a:pt x="0" y="1310"/>
                  </a:lnTo>
                  <a:lnTo>
                    <a:pt x="179" y="1953"/>
                  </a:lnTo>
                  <a:lnTo>
                    <a:pt x="4418" y="607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6" name="Google Shape;1472;p38">
              <a:extLst>
                <a:ext uri="{FF2B5EF4-FFF2-40B4-BE49-F238E27FC236}">
                  <a16:creationId xmlns:a16="http://schemas.microsoft.com/office/drawing/2014/main" id="{07F0A19B-C69A-2608-8CF1-60BBA809B906}"/>
                </a:ext>
              </a:extLst>
            </p:cNvPr>
            <p:cNvSpPr/>
            <p:nvPr/>
          </p:nvSpPr>
          <p:spPr>
            <a:xfrm>
              <a:off x="6752995" y="3343128"/>
              <a:ext cx="141387" cy="61381"/>
            </a:xfrm>
            <a:custGeom>
              <a:avLst/>
              <a:gdLst/>
              <a:ahLst/>
              <a:cxnLst/>
              <a:rect l="l" t="t" r="r" b="b"/>
              <a:pathLst>
                <a:path w="4418" h="1918" extrusionOk="0">
                  <a:moveTo>
                    <a:pt x="4239" y="0"/>
                  </a:moveTo>
                  <a:lnTo>
                    <a:pt x="0" y="1310"/>
                  </a:lnTo>
                  <a:lnTo>
                    <a:pt x="215" y="1917"/>
                  </a:lnTo>
                  <a:lnTo>
                    <a:pt x="4418" y="572"/>
                  </a:lnTo>
                  <a:lnTo>
                    <a:pt x="42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7" name="Google Shape;1473;p38">
              <a:extLst>
                <a:ext uri="{FF2B5EF4-FFF2-40B4-BE49-F238E27FC236}">
                  <a16:creationId xmlns:a16="http://schemas.microsoft.com/office/drawing/2014/main" id="{8B0FD770-7634-015D-BAE9-F3AA8CD52CBF}"/>
                </a:ext>
              </a:extLst>
            </p:cNvPr>
            <p:cNvSpPr/>
            <p:nvPr/>
          </p:nvSpPr>
          <p:spPr>
            <a:xfrm>
              <a:off x="7022773" y="3192622"/>
              <a:ext cx="57156" cy="126538"/>
            </a:xfrm>
            <a:custGeom>
              <a:avLst/>
              <a:gdLst/>
              <a:ahLst/>
              <a:cxnLst/>
              <a:rect l="l" t="t" r="r" b="b"/>
              <a:pathLst>
                <a:path w="1786" h="3954" extrusionOk="0">
                  <a:moveTo>
                    <a:pt x="536" y="0"/>
                  </a:moveTo>
                  <a:lnTo>
                    <a:pt x="286" y="572"/>
                  </a:lnTo>
                  <a:cubicBezTo>
                    <a:pt x="572" y="715"/>
                    <a:pt x="822" y="893"/>
                    <a:pt x="964" y="1179"/>
                  </a:cubicBezTo>
                  <a:cubicBezTo>
                    <a:pt x="1107" y="1429"/>
                    <a:pt x="1179" y="1750"/>
                    <a:pt x="1143" y="2072"/>
                  </a:cubicBezTo>
                  <a:cubicBezTo>
                    <a:pt x="1107" y="2358"/>
                    <a:pt x="1000" y="2679"/>
                    <a:pt x="786" y="2881"/>
                  </a:cubicBezTo>
                  <a:cubicBezTo>
                    <a:pt x="572" y="3096"/>
                    <a:pt x="357" y="3274"/>
                    <a:pt x="0" y="3346"/>
                  </a:cubicBezTo>
                  <a:lnTo>
                    <a:pt x="179" y="3953"/>
                  </a:lnTo>
                  <a:cubicBezTo>
                    <a:pt x="572" y="3846"/>
                    <a:pt x="1000" y="3596"/>
                    <a:pt x="1250" y="3274"/>
                  </a:cubicBezTo>
                  <a:cubicBezTo>
                    <a:pt x="1536" y="2953"/>
                    <a:pt x="1715" y="2536"/>
                    <a:pt x="1750" y="2108"/>
                  </a:cubicBezTo>
                  <a:cubicBezTo>
                    <a:pt x="1786" y="1679"/>
                    <a:pt x="1715" y="1250"/>
                    <a:pt x="1500" y="857"/>
                  </a:cubicBezTo>
                  <a:cubicBezTo>
                    <a:pt x="1286" y="500"/>
                    <a:pt x="929" y="179"/>
                    <a:pt x="5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8" name="Google Shape;1474;p38">
              <a:extLst>
                <a:ext uri="{FF2B5EF4-FFF2-40B4-BE49-F238E27FC236}">
                  <a16:creationId xmlns:a16="http://schemas.microsoft.com/office/drawing/2014/main" id="{D6749942-D852-5C5B-3663-61A7D066A444}"/>
                </a:ext>
              </a:extLst>
            </p:cNvPr>
            <p:cNvSpPr/>
            <p:nvPr/>
          </p:nvSpPr>
          <p:spPr>
            <a:xfrm>
              <a:off x="6772421" y="3082503"/>
              <a:ext cx="137963" cy="72806"/>
            </a:xfrm>
            <a:custGeom>
              <a:avLst/>
              <a:gdLst/>
              <a:ahLst/>
              <a:cxnLst/>
              <a:rect l="l" t="t" r="r" b="b"/>
              <a:pathLst>
                <a:path w="4311" h="2275" extrusionOk="0">
                  <a:moveTo>
                    <a:pt x="215" y="0"/>
                  </a:moveTo>
                  <a:lnTo>
                    <a:pt x="1" y="572"/>
                  </a:lnTo>
                  <a:lnTo>
                    <a:pt x="4061" y="2274"/>
                  </a:lnTo>
                  <a:lnTo>
                    <a:pt x="4311" y="1739"/>
                  </a:lnTo>
                  <a:lnTo>
                    <a:pt x="2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9" name="Google Shape;1475;p38">
              <a:extLst>
                <a:ext uri="{FF2B5EF4-FFF2-40B4-BE49-F238E27FC236}">
                  <a16:creationId xmlns:a16="http://schemas.microsoft.com/office/drawing/2014/main" id="{3EBE0FB8-97B7-AD2D-E1B4-712F70DC2164}"/>
                </a:ext>
              </a:extLst>
            </p:cNvPr>
            <p:cNvSpPr/>
            <p:nvPr/>
          </p:nvSpPr>
          <p:spPr>
            <a:xfrm>
              <a:off x="6512948" y="2972000"/>
              <a:ext cx="136811" cy="72806"/>
            </a:xfrm>
            <a:custGeom>
              <a:avLst/>
              <a:gdLst/>
              <a:ahLst/>
              <a:cxnLst/>
              <a:rect l="l" t="t" r="r" b="b"/>
              <a:pathLst>
                <a:path w="4275" h="2275" extrusionOk="0">
                  <a:moveTo>
                    <a:pt x="215" y="0"/>
                  </a:moveTo>
                  <a:lnTo>
                    <a:pt x="0" y="536"/>
                  </a:lnTo>
                  <a:lnTo>
                    <a:pt x="4060" y="2275"/>
                  </a:lnTo>
                  <a:lnTo>
                    <a:pt x="4275" y="1739"/>
                  </a:lnTo>
                  <a:lnTo>
                    <a:pt x="2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0" name="Google Shape;1476;p38">
              <a:extLst>
                <a:ext uri="{FF2B5EF4-FFF2-40B4-BE49-F238E27FC236}">
                  <a16:creationId xmlns:a16="http://schemas.microsoft.com/office/drawing/2014/main" id="{E68BBAB1-D16D-4611-CF11-A871A8024B43}"/>
                </a:ext>
              </a:extLst>
            </p:cNvPr>
            <p:cNvSpPr/>
            <p:nvPr/>
          </p:nvSpPr>
          <p:spPr>
            <a:xfrm>
              <a:off x="6252323" y="2861497"/>
              <a:ext cx="137579" cy="71686"/>
            </a:xfrm>
            <a:custGeom>
              <a:avLst/>
              <a:gdLst/>
              <a:ahLst/>
              <a:cxnLst/>
              <a:rect l="l" t="t" r="r" b="b"/>
              <a:pathLst>
                <a:path w="4299" h="2240" extrusionOk="0">
                  <a:moveTo>
                    <a:pt x="251" y="1"/>
                  </a:moveTo>
                  <a:lnTo>
                    <a:pt x="1" y="501"/>
                  </a:lnTo>
                  <a:lnTo>
                    <a:pt x="4096" y="2239"/>
                  </a:lnTo>
                  <a:lnTo>
                    <a:pt x="4299" y="1751"/>
                  </a:lnTo>
                  <a:lnTo>
                    <a:pt x="2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1" name="Google Shape;1477;p38">
              <a:extLst>
                <a:ext uri="{FF2B5EF4-FFF2-40B4-BE49-F238E27FC236}">
                  <a16:creationId xmlns:a16="http://schemas.microsoft.com/office/drawing/2014/main" id="{F4609C52-0B17-C000-B4CC-78315177223F}"/>
                </a:ext>
              </a:extLst>
            </p:cNvPr>
            <p:cNvSpPr/>
            <p:nvPr/>
          </p:nvSpPr>
          <p:spPr>
            <a:xfrm>
              <a:off x="5992850" y="2750994"/>
              <a:ext cx="136427" cy="72070"/>
            </a:xfrm>
            <a:custGeom>
              <a:avLst/>
              <a:gdLst/>
              <a:ahLst/>
              <a:cxnLst/>
              <a:rect l="l" t="t" r="r" b="b"/>
              <a:pathLst>
                <a:path w="4263" h="2252" extrusionOk="0">
                  <a:moveTo>
                    <a:pt x="215" y="1"/>
                  </a:moveTo>
                  <a:lnTo>
                    <a:pt x="0" y="501"/>
                  </a:lnTo>
                  <a:lnTo>
                    <a:pt x="4049" y="2251"/>
                  </a:lnTo>
                  <a:lnTo>
                    <a:pt x="4263" y="1715"/>
                  </a:lnTo>
                  <a:lnTo>
                    <a:pt x="21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2" name="Google Shape;1478;p38">
              <a:extLst>
                <a:ext uri="{FF2B5EF4-FFF2-40B4-BE49-F238E27FC236}">
                  <a16:creationId xmlns:a16="http://schemas.microsoft.com/office/drawing/2014/main" id="{82A1B528-13C4-0A2F-3A4E-05FBAF840F29}"/>
                </a:ext>
              </a:extLst>
            </p:cNvPr>
            <p:cNvSpPr/>
            <p:nvPr/>
          </p:nvSpPr>
          <p:spPr>
            <a:xfrm>
              <a:off x="5733377" y="2640874"/>
              <a:ext cx="136427" cy="70534"/>
            </a:xfrm>
            <a:custGeom>
              <a:avLst/>
              <a:gdLst/>
              <a:ahLst/>
              <a:cxnLst/>
              <a:rect l="l" t="t" r="r" b="b"/>
              <a:pathLst>
                <a:path w="4263" h="2204" extrusionOk="0">
                  <a:moveTo>
                    <a:pt x="215" y="1"/>
                  </a:moveTo>
                  <a:lnTo>
                    <a:pt x="0" y="453"/>
                  </a:lnTo>
                  <a:lnTo>
                    <a:pt x="4048" y="2204"/>
                  </a:lnTo>
                  <a:lnTo>
                    <a:pt x="4263" y="1704"/>
                  </a:lnTo>
                  <a:lnTo>
                    <a:pt x="21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3" name="Google Shape;1479;p38">
              <a:extLst>
                <a:ext uri="{FF2B5EF4-FFF2-40B4-BE49-F238E27FC236}">
                  <a16:creationId xmlns:a16="http://schemas.microsoft.com/office/drawing/2014/main" id="{574F4440-ED69-B6D9-0552-3750799599AE}"/>
                </a:ext>
              </a:extLst>
            </p:cNvPr>
            <p:cNvSpPr/>
            <p:nvPr/>
          </p:nvSpPr>
          <p:spPr>
            <a:xfrm>
              <a:off x="5473905" y="2530403"/>
              <a:ext cx="136427" cy="70502"/>
            </a:xfrm>
            <a:custGeom>
              <a:avLst/>
              <a:gdLst/>
              <a:ahLst/>
              <a:cxnLst/>
              <a:rect l="l" t="t" r="r" b="b"/>
              <a:pathLst>
                <a:path w="4263" h="2203" extrusionOk="0">
                  <a:moveTo>
                    <a:pt x="179" y="0"/>
                  </a:moveTo>
                  <a:lnTo>
                    <a:pt x="0" y="464"/>
                  </a:lnTo>
                  <a:lnTo>
                    <a:pt x="4048" y="2203"/>
                  </a:lnTo>
                  <a:lnTo>
                    <a:pt x="4263" y="1703"/>
                  </a:lnTo>
                  <a:lnTo>
                    <a:pt x="1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4" name="Google Shape;1480;p38">
              <a:extLst>
                <a:ext uri="{FF2B5EF4-FFF2-40B4-BE49-F238E27FC236}">
                  <a16:creationId xmlns:a16="http://schemas.microsoft.com/office/drawing/2014/main" id="{1080DB52-18EE-D6D5-0111-7C1172175907}"/>
                </a:ext>
              </a:extLst>
            </p:cNvPr>
            <p:cNvSpPr/>
            <p:nvPr/>
          </p:nvSpPr>
          <p:spPr>
            <a:xfrm>
              <a:off x="5214048" y="2418748"/>
              <a:ext cx="135659" cy="70534"/>
            </a:xfrm>
            <a:custGeom>
              <a:avLst/>
              <a:gdLst/>
              <a:ahLst/>
              <a:cxnLst/>
              <a:rect l="l" t="t" r="r" b="b"/>
              <a:pathLst>
                <a:path w="4239" h="2204" extrusionOk="0">
                  <a:moveTo>
                    <a:pt x="179" y="1"/>
                  </a:moveTo>
                  <a:lnTo>
                    <a:pt x="0" y="465"/>
                  </a:lnTo>
                  <a:lnTo>
                    <a:pt x="4060" y="2203"/>
                  </a:lnTo>
                  <a:lnTo>
                    <a:pt x="4239" y="1751"/>
                  </a:lnTo>
                  <a:lnTo>
                    <a:pt x="17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5" name="Google Shape;1481;p38">
              <a:extLst>
                <a:ext uri="{FF2B5EF4-FFF2-40B4-BE49-F238E27FC236}">
                  <a16:creationId xmlns:a16="http://schemas.microsoft.com/office/drawing/2014/main" id="{B82666E5-330E-EBF1-1BA8-9317679AAA56}"/>
                </a:ext>
              </a:extLst>
            </p:cNvPr>
            <p:cNvSpPr/>
            <p:nvPr/>
          </p:nvSpPr>
          <p:spPr>
            <a:xfrm>
              <a:off x="4953423" y="2308245"/>
              <a:ext cx="136811" cy="70918"/>
            </a:xfrm>
            <a:custGeom>
              <a:avLst/>
              <a:gdLst/>
              <a:ahLst/>
              <a:cxnLst/>
              <a:rect l="l" t="t" r="r" b="b"/>
              <a:pathLst>
                <a:path w="4275" h="2216" extrusionOk="0">
                  <a:moveTo>
                    <a:pt x="214" y="1"/>
                  </a:moveTo>
                  <a:lnTo>
                    <a:pt x="0" y="465"/>
                  </a:lnTo>
                  <a:lnTo>
                    <a:pt x="4060" y="2215"/>
                  </a:lnTo>
                  <a:lnTo>
                    <a:pt x="4275" y="1751"/>
                  </a:lnTo>
                  <a:lnTo>
                    <a:pt x="2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6" name="Google Shape;1482;p38">
              <a:extLst>
                <a:ext uri="{FF2B5EF4-FFF2-40B4-BE49-F238E27FC236}">
                  <a16:creationId xmlns:a16="http://schemas.microsoft.com/office/drawing/2014/main" id="{7EDD5115-70BD-5A6B-E19E-C5A6415E1FB9}"/>
                </a:ext>
              </a:extLst>
            </p:cNvPr>
            <p:cNvSpPr/>
            <p:nvPr/>
          </p:nvSpPr>
          <p:spPr>
            <a:xfrm>
              <a:off x="4693950" y="2198126"/>
              <a:ext cx="136811" cy="69381"/>
            </a:xfrm>
            <a:custGeom>
              <a:avLst/>
              <a:gdLst/>
              <a:ahLst/>
              <a:cxnLst/>
              <a:rect l="l" t="t" r="r" b="b"/>
              <a:pathLst>
                <a:path w="4275" h="2168" extrusionOk="0">
                  <a:moveTo>
                    <a:pt x="214" y="1"/>
                  </a:moveTo>
                  <a:lnTo>
                    <a:pt x="0" y="418"/>
                  </a:lnTo>
                  <a:cubicBezTo>
                    <a:pt x="357" y="596"/>
                    <a:pt x="679" y="703"/>
                    <a:pt x="1036" y="882"/>
                  </a:cubicBezTo>
                  <a:lnTo>
                    <a:pt x="2036" y="1311"/>
                  </a:lnTo>
                  <a:lnTo>
                    <a:pt x="4060" y="2168"/>
                  </a:lnTo>
                  <a:lnTo>
                    <a:pt x="4274" y="1739"/>
                  </a:lnTo>
                  <a:lnTo>
                    <a:pt x="2203" y="846"/>
                  </a:lnTo>
                  <a:lnTo>
                    <a:pt x="1214" y="418"/>
                  </a:lnTo>
                  <a:cubicBezTo>
                    <a:pt x="893" y="275"/>
                    <a:pt x="500" y="144"/>
                    <a:pt x="2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7" name="Google Shape;1483;p38">
              <a:extLst>
                <a:ext uri="{FF2B5EF4-FFF2-40B4-BE49-F238E27FC236}">
                  <a16:creationId xmlns:a16="http://schemas.microsoft.com/office/drawing/2014/main" id="{A5F29747-9196-D5B5-F307-993F03B3EEA8}"/>
                </a:ext>
              </a:extLst>
            </p:cNvPr>
            <p:cNvSpPr/>
            <p:nvPr/>
          </p:nvSpPr>
          <p:spPr>
            <a:xfrm>
              <a:off x="4682494" y="2038500"/>
              <a:ext cx="141387" cy="53732"/>
            </a:xfrm>
            <a:custGeom>
              <a:avLst/>
              <a:gdLst/>
              <a:ahLst/>
              <a:cxnLst/>
              <a:rect l="l" t="t" r="r" b="b"/>
              <a:pathLst>
                <a:path w="4418" h="1679" extrusionOk="0">
                  <a:moveTo>
                    <a:pt x="4311" y="0"/>
                  </a:moveTo>
                  <a:lnTo>
                    <a:pt x="2144" y="536"/>
                  </a:lnTo>
                  <a:lnTo>
                    <a:pt x="1072" y="822"/>
                  </a:lnTo>
                  <a:cubicBezTo>
                    <a:pt x="715" y="893"/>
                    <a:pt x="322" y="1036"/>
                    <a:pt x="1" y="1322"/>
                  </a:cubicBezTo>
                  <a:lnTo>
                    <a:pt x="287" y="1679"/>
                  </a:lnTo>
                  <a:cubicBezTo>
                    <a:pt x="537" y="1465"/>
                    <a:pt x="822" y="1358"/>
                    <a:pt x="1215" y="1250"/>
                  </a:cubicBezTo>
                  <a:lnTo>
                    <a:pt x="2287" y="1000"/>
                  </a:lnTo>
                  <a:lnTo>
                    <a:pt x="4418" y="429"/>
                  </a:lnTo>
                  <a:lnTo>
                    <a:pt x="43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8" name="Google Shape;1484;p38">
              <a:extLst>
                <a:ext uri="{FF2B5EF4-FFF2-40B4-BE49-F238E27FC236}">
                  <a16:creationId xmlns:a16="http://schemas.microsoft.com/office/drawing/2014/main" id="{D0C61EC8-EF98-5CD9-556B-150E1E426F56}"/>
                </a:ext>
              </a:extLst>
            </p:cNvPr>
            <p:cNvSpPr/>
            <p:nvPr/>
          </p:nvSpPr>
          <p:spPr>
            <a:xfrm>
              <a:off x="4956847" y="1969151"/>
              <a:ext cx="140235" cy="48036"/>
            </a:xfrm>
            <a:custGeom>
              <a:avLst/>
              <a:gdLst/>
              <a:ahLst/>
              <a:cxnLst/>
              <a:rect l="l" t="t" r="r" b="b"/>
              <a:pathLst>
                <a:path w="4382" h="1501" extrusionOk="0">
                  <a:moveTo>
                    <a:pt x="4275" y="0"/>
                  </a:moveTo>
                  <a:lnTo>
                    <a:pt x="0" y="1072"/>
                  </a:lnTo>
                  <a:lnTo>
                    <a:pt x="107" y="1500"/>
                  </a:lnTo>
                  <a:lnTo>
                    <a:pt x="4382" y="393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9" name="Google Shape;1485;p38">
              <a:extLst>
                <a:ext uri="{FF2B5EF4-FFF2-40B4-BE49-F238E27FC236}">
                  <a16:creationId xmlns:a16="http://schemas.microsoft.com/office/drawing/2014/main" id="{8904D7E1-C57A-D2B9-6E8A-3FC7096E3B81}"/>
                </a:ext>
              </a:extLst>
            </p:cNvPr>
            <p:cNvSpPr/>
            <p:nvPr/>
          </p:nvSpPr>
          <p:spPr>
            <a:xfrm>
              <a:off x="5230049" y="1898651"/>
              <a:ext cx="140235" cy="48804"/>
            </a:xfrm>
            <a:custGeom>
              <a:avLst/>
              <a:gdLst/>
              <a:ahLst/>
              <a:cxnLst/>
              <a:rect l="l" t="t" r="r" b="b"/>
              <a:pathLst>
                <a:path w="4382" h="1525" extrusionOk="0">
                  <a:moveTo>
                    <a:pt x="4274" y="1"/>
                  </a:moveTo>
                  <a:lnTo>
                    <a:pt x="0" y="1108"/>
                  </a:lnTo>
                  <a:lnTo>
                    <a:pt x="107" y="1525"/>
                  </a:lnTo>
                  <a:lnTo>
                    <a:pt x="4382" y="429"/>
                  </a:lnTo>
                  <a:lnTo>
                    <a:pt x="427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0" name="Google Shape;1486;p38">
              <a:extLst>
                <a:ext uri="{FF2B5EF4-FFF2-40B4-BE49-F238E27FC236}">
                  <a16:creationId xmlns:a16="http://schemas.microsoft.com/office/drawing/2014/main" id="{BA06883A-EE3C-4C0F-B081-4622FB14F4FF}"/>
                </a:ext>
              </a:extLst>
            </p:cNvPr>
            <p:cNvSpPr/>
            <p:nvPr/>
          </p:nvSpPr>
          <p:spPr>
            <a:xfrm>
              <a:off x="5504371" y="1829302"/>
              <a:ext cx="140235" cy="47652"/>
            </a:xfrm>
            <a:custGeom>
              <a:avLst/>
              <a:gdLst/>
              <a:ahLst/>
              <a:cxnLst/>
              <a:rect l="l" t="t" r="r" b="b"/>
              <a:pathLst>
                <a:path w="4382" h="1489" extrusionOk="0">
                  <a:moveTo>
                    <a:pt x="4275" y="1"/>
                  </a:moveTo>
                  <a:lnTo>
                    <a:pt x="1" y="1060"/>
                  </a:lnTo>
                  <a:lnTo>
                    <a:pt x="108" y="1489"/>
                  </a:lnTo>
                  <a:lnTo>
                    <a:pt x="4382" y="394"/>
                  </a:lnTo>
                  <a:lnTo>
                    <a:pt x="427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1" name="Google Shape;1487;p38">
              <a:extLst>
                <a:ext uri="{FF2B5EF4-FFF2-40B4-BE49-F238E27FC236}">
                  <a16:creationId xmlns:a16="http://schemas.microsoft.com/office/drawing/2014/main" id="{1E8758A9-8481-EE0B-7BBD-67CC09D966E5}"/>
                </a:ext>
              </a:extLst>
            </p:cNvPr>
            <p:cNvSpPr/>
            <p:nvPr/>
          </p:nvSpPr>
          <p:spPr>
            <a:xfrm>
              <a:off x="5777572" y="1758450"/>
              <a:ext cx="140235" cy="48036"/>
            </a:xfrm>
            <a:custGeom>
              <a:avLst/>
              <a:gdLst/>
              <a:ahLst/>
              <a:cxnLst/>
              <a:rect l="l" t="t" r="r" b="b"/>
              <a:pathLst>
                <a:path w="4382" h="1501" extrusionOk="0">
                  <a:moveTo>
                    <a:pt x="4275" y="0"/>
                  </a:moveTo>
                  <a:lnTo>
                    <a:pt x="0" y="1107"/>
                  </a:lnTo>
                  <a:lnTo>
                    <a:pt x="108" y="1500"/>
                  </a:lnTo>
                  <a:lnTo>
                    <a:pt x="4382" y="393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2" name="Google Shape;1488;p38">
              <a:extLst>
                <a:ext uri="{FF2B5EF4-FFF2-40B4-BE49-F238E27FC236}">
                  <a16:creationId xmlns:a16="http://schemas.microsoft.com/office/drawing/2014/main" id="{6AC2FB74-CF34-B508-4BC9-50EA19845F41}"/>
                </a:ext>
              </a:extLst>
            </p:cNvPr>
            <p:cNvSpPr/>
            <p:nvPr/>
          </p:nvSpPr>
          <p:spPr>
            <a:xfrm>
              <a:off x="6051894" y="1689101"/>
              <a:ext cx="139115" cy="46884"/>
            </a:xfrm>
            <a:custGeom>
              <a:avLst/>
              <a:gdLst/>
              <a:ahLst/>
              <a:cxnLst/>
              <a:rect l="l" t="t" r="r" b="b"/>
              <a:pathLst>
                <a:path w="4347" h="1465" extrusionOk="0">
                  <a:moveTo>
                    <a:pt x="4275" y="0"/>
                  </a:moveTo>
                  <a:lnTo>
                    <a:pt x="1" y="1107"/>
                  </a:lnTo>
                  <a:lnTo>
                    <a:pt x="72" y="1465"/>
                  </a:lnTo>
                  <a:lnTo>
                    <a:pt x="4347" y="357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3" name="Google Shape;1489;p38">
              <a:extLst>
                <a:ext uri="{FF2B5EF4-FFF2-40B4-BE49-F238E27FC236}">
                  <a16:creationId xmlns:a16="http://schemas.microsoft.com/office/drawing/2014/main" id="{70ED8D46-2BAB-77BA-E4B0-2B388AF4765F}"/>
                </a:ext>
              </a:extLst>
            </p:cNvPr>
            <p:cNvSpPr/>
            <p:nvPr/>
          </p:nvSpPr>
          <p:spPr>
            <a:xfrm>
              <a:off x="6325096" y="1619753"/>
              <a:ext cx="140267" cy="45380"/>
            </a:xfrm>
            <a:custGeom>
              <a:avLst/>
              <a:gdLst/>
              <a:ahLst/>
              <a:cxnLst/>
              <a:rect l="l" t="t" r="r" b="b"/>
              <a:pathLst>
                <a:path w="4383" h="1418" extrusionOk="0">
                  <a:moveTo>
                    <a:pt x="4275" y="0"/>
                  </a:moveTo>
                  <a:lnTo>
                    <a:pt x="1" y="1072"/>
                  </a:lnTo>
                  <a:lnTo>
                    <a:pt x="108" y="1417"/>
                  </a:lnTo>
                  <a:lnTo>
                    <a:pt x="4382" y="322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4" name="Google Shape;1490;p38">
              <a:extLst>
                <a:ext uri="{FF2B5EF4-FFF2-40B4-BE49-F238E27FC236}">
                  <a16:creationId xmlns:a16="http://schemas.microsoft.com/office/drawing/2014/main" id="{7A0A190D-627D-9222-FC03-D29075FC6096}"/>
                </a:ext>
              </a:extLst>
            </p:cNvPr>
            <p:cNvSpPr/>
            <p:nvPr/>
          </p:nvSpPr>
          <p:spPr>
            <a:xfrm>
              <a:off x="6599449" y="1549252"/>
              <a:ext cx="139083" cy="45380"/>
            </a:xfrm>
            <a:custGeom>
              <a:avLst/>
              <a:gdLst/>
              <a:ahLst/>
              <a:cxnLst/>
              <a:rect l="l" t="t" r="r" b="b"/>
              <a:pathLst>
                <a:path w="4346" h="1418" extrusionOk="0">
                  <a:moveTo>
                    <a:pt x="4275" y="1"/>
                  </a:moveTo>
                  <a:lnTo>
                    <a:pt x="0" y="1096"/>
                  </a:lnTo>
                  <a:lnTo>
                    <a:pt x="72" y="1417"/>
                  </a:lnTo>
                  <a:lnTo>
                    <a:pt x="4346" y="322"/>
                  </a:lnTo>
                  <a:lnTo>
                    <a:pt x="427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5" name="Google Shape;1491;p38">
              <a:extLst>
                <a:ext uri="{FF2B5EF4-FFF2-40B4-BE49-F238E27FC236}">
                  <a16:creationId xmlns:a16="http://schemas.microsoft.com/office/drawing/2014/main" id="{72B2F65F-5F1D-6FF5-F493-10538F252311}"/>
                </a:ext>
              </a:extLst>
            </p:cNvPr>
            <p:cNvSpPr/>
            <p:nvPr/>
          </p:nvSpPr>
          <p:spPr>
            <a:xfrm>
              <a:off x="6872619" y="1479904"/>
              <a:ext cx="140267" cy="45380"/>
            </a:xfrm>
            <a:custGeom>
              <a:avLst/>
              <a:gdLst/>
              <a:ahLst/>
              <a:cxnLst/>
              <a:rect l="l" t="t" r="r" b="b"/>
              <a:pathLst>
                <a:path w="4383" h="1418" extrusionOk="0">
                  <a:moveTo>
                    <a:pt x="4275" y="1"/>
                  </a:moveTo>
                  <a:lnTo>
                    <a:pt x="1" y="1060"/>
                  </a:lnTo>
                  <a:lnTo>
                    <a:pt x="72" y="1418"/>
                  </a:lnTo>
                  <a:lnTo>
                    <a:pt x="4382" y="310"/>
                  </a:lnTo>
                  <a:lnTo>
                    <a:pt x="427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6" name="Google Shape;1492;p38">
              <a:extLst>
                <a:ext uri="{FF2B5EF4-FFF2-40B4-BE49-F238E27FC236}">
                  <a16:creationId xmlns:a16="http://schemas.microsoft.com/office/drawing/2014/main" id="{D1006985-3483-7233-239B-A33DE5385C04}"/>
                </a:ext>
              </a:extLst>
            </p:cNvPr>
            <p:cNvSpPr/>
            <p:nvPr/>
          </p:nvSpPr>
          <p:spPr>
            <a:xfrm>
              <a:off x="7145821" y="1409051"/>
              <a:ext cx="139883" cy="45732"/>
            </a:xfrm>
            <a:custGeom>
              <a:avLst/>
              <a:gdLst/>
              <a:ahLst/>
              <a:cxnLst/>
              <a:rect l="l" t="t" r="r" b="b"/>
              <a:pathLst>
                <a:path w="4371" h="1429" extrusionOk="0">
                  <a:moveTo>
                    <a:pt x="4311" y="0"/>
                  </a:moveTo>
                  <a:lnTo>
                    <a:pt x="1" y="1107"/>
                  </a:lnTo>
                  <a:lnTo>
                    <a:pt x="108" y="1429"/>
                  </a:lnTo>
                  <a:lnTo>
                    <a:pt x="4370" y="322"/>
                  </a:lnTo>
                  <a:lnTo>
                    <a:pt x="43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7" name="Google Shape;1493;p38">
              <a:extLst>
                <a:ext uri="{FF2B5EF4-FFF2-40B4-BE49-F238E27FC236}">
                  <a16:creationId xmlns:a16="http://schemas.microsoft.com/office/drawing/2014/main" id="{EF7E6778-4FD3-F71B-81CC-F7C3EC98D568}"/>
                </a:ext>
              </a:extLst>
            </p:cNvPr>
            <p:cNvSpPr/>
            <p:nvPr/>
          </p:nvSpPr>
          <p:spPr>
            <a:xfrm>
              <a:off x="7420174" y="1339702"/>
              <a:ext cx="138699" cy="44611"/>
            </a:xfrm>
            <a:custGeom>
              <a:avLst/>
              <a:gdLst/>
              <a:ahLst/>
              <a:cxnLst/>
              <a:rect l="l" t="t" r="r" b="b"/>
              <a:pathLst>
                <a:path w="4334" h="1394" extrusionOk="0">
                  <a:moveTo>
                    <a:pt x="4263" y="0"/>
                  </a:moveTo>
                  <a:lnTo>
                    <a:pt x="0" y="1107"/>
                  </a:lnTo>
                  <a:lnTo>
                    <a:pt x="72" y="1393"/>
                  </a:lnTo>
                  <a:lnTo>
                    <a:pt x="4334" y="286"/>
                  </a:lnTo>
                  <a:lnTo>
                    <a:pt x="42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8" name="Google Shape;1494;p38">
              <a:extLst>
                <a:ext uri="{FF2B5EF4-FFF2-40B4-BE49-F238E27FC236}">
                  <a16:creationId xmlns:a16="http://schemas.microsoft.com/office/drawing/2014/main" id="{F2008893-1BEB-676B-C6D1-150A446C26E4}"/>
                </a:ext>
              </a:extLst>
            </p:cNvPr>
            <p:cNvSpPr/>
            <p:nvPr/>
          </p:nvSpPr>
          <p:spPr>
            <a:xfrm>
              <a:off x="7693376" y="1269202"/>
              <a:ext cx="139851" cy="44227"/>
            </a:xfrm>
            <a:custGeom>
              <a:avLst/>
              <a:gdLst/>
              <a:ahLst/>
              <a:cxnLst/>
              <a:rect l="l" t="t" r="r" b="b"/>
              <a:pathLst>
                <a:path w="4370" h="1382" extrusionOk="0">
                  <a:moveTo>
                    <a:pt x="4298" y="1"/>
                  </a:moveTo>
                  <a:lnTo>
                    <a:pt x="0" y="1096"/>
                  </a:lnTo>
                  <a:lnTo>
                    <a:pt x="71" y="1382"/>
                  </a:lnTo>
                  <a:lnTo>
                    <a:pt x="4370" y="286"/>
                  </a:lnTo>
                  <a:lnTo>
                    <a:pt x="429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9" name="Google Shape;1495;p38">
              <a:extLst>
                <a:ext uri="{FF2B5EF4-FFF2-40B4-BE49-F238E27FC236}">
                  <a16:creationId xmlns:a16="http://schemas.microsoft.com/office/drawing/2014/main" id="{9380B211-3FC8-20F3-8183-8C89055C8C06}"/>
                </a:ext>
              </a:extLst>
            </p:cNvPr>
            <p:cNvSpPr/>
            <p:nvPr/>
          </p:nvSpPr>
          <p:spPr>
            <a:xfrm>
              <a:off x="7745571" y="1140426"/>
              <a:ext cx="139083" cy="49188"/>
            </a:xfrm>
            <a:custGeom>
              <a:avLst/>
              <a:gdLst/>
              <a:ahLst/>
              <a:cxnLst/>
              <a:rect l="l" t="t" r="r" b="b"/>
              <a:pathLst>
                <a:path w="4346" h="1537" extrusionOk="0">
                  <a:moveTo>
                    <a:pt x="72" y="0"/>
                  </a:moveTo>
                  <a:lnTo>
                    <a:pt x="0" y="250"/>
                  </a:lnTo>
                  <a:lnTo>
                    <a:pt x="2108" y="893"/>
                  </a:lnTo>
                  <a:lnTo>
                    <a:pt x="3167" y="1215"/>
                  </a:lnTo>
                  <a:lnTo>
                    <a:pt x="3703" y="1358"/>
                  </a:lnTo>
                  <a:cubicBezTo>
                    <a:pt x="3882" y="1429"/>
                    <a:pt x="4060" y="1465"/>
                    <a:pt x="4203" y="1536"/>
                  </a:cubicBezTo>
                  <a:lnTo>
                    <a:pt x="4346" y="1286"/>
                  </a:lnTo>
                  <a:cubicBezTo>
                    <a:pt x="4167" y="1179"/>
                    <a:pt x="3953" y="1143"/>
                    <a:pt x="3774" y="1108"/>
                  </a:cubicBezTo>
                  <a:lnTo>
                    <a:pt x="3239" y="929"/>
                  </a:lnTo>
                  <a:lnTo>
                    <a:pt x="2215" y="643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0" name="Google Shape;1496;p38">
              <a:extLst>
                <a:ext uri="{FF2B5EF4-FFF2-40B4-BE49-F238E27FC236}">
                  <a16:creationId xmlns:a16="http://schemas.microsoft.com/office/drawing/2014/main" id="{175049FA-A184-0207-C0FA-2CEC7FDA7A8D}"/>
                </a:ext>
              </a:extLst>
            </p:cNvPr>
            <p:cNvSpPr/>
            <p:nvPr/>
          </p:nvSpPr>
          <p:spPr>
            <a:xfrm>
              <a:off x="7474642" y="1060772"/>
              <a:ext cx="137963" cy="48068"/>
            </a:xfrm>
            <a:custGeom>
              <a:avLst/>
              <a:gdLst/>
              <a:ahLst/>
              <a:cxnLst/>
              <a:rect l="l" t="t" r="r" b="b"/>
              <a:pathLst>
                <a:path w="4311" h="1502" extrusionOk="0">
                  <a:moveTo>
                    <a:pt x="72" y="1"/>
                  </a:moveTo>
                  <a:lnTo>
                    <a:pt x="1" y="251"/>
                  </a:lnTo>
                  <a:lnTo>
                    <a:pt x="4239" y="1501"/>
                  </a:lnTo>
                  <a:lnTo>
                    <a:pt x="4311" y="1251"/>
                  </a:lnTo>
                  <a:lnTo>
                    <a:pt x="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1" name="Google Shape;1497;p38">
              <a:extLst>
                <a:ext uri="{FF2B5EF4-FFF2-40B4-BE49-F238E27FC236}">
                  <a16:creationId xmlns:a16="http://schemas.microsoft.com/office/drawing/2014/main" id="{F5855EFD-D0FC-CA7C-EB86-87A326678D5E}"/>
                </a:ext>
              </a:extLst>
            </p:cNvPr>
            <p:cNvSpPr/>
            <p:nvPr/>
          </p:nvSpPr>
          <p:spPr>
            <a:xfrm>
              <a:off x="7203744" y="982303"/>
              <a:ext cx="137963" cy="46884"/>
            </a:xfrm>
            <a:custGeom>
              <a:avLst/>
              <a:gdLst/>
              <a:ahLst/>
              <a:cxnLst/>
              <a:rect l="l" t="t" r="r" b="b"/>
              <a:pathLst>
                <a:path w="4311" h="1465" extrusionOk="0">
                  <a:moveTo>
                    <a:pt x="72" y="0"/>
                  </a:moveTo>
                  <a:lnTo>
                    <a:pt x="0" y="214"/>
                  </a:lnTo>
                  <a:lnTo>
                    <a:pt x="4239" y="1465"/>
                  </a:lnTo>
                  <a:lnTo>
                    <a:pt x="4311" y="1250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2" name="Google Shape;1498;p38">
              <a:extLst>
                <a:ext uri="{FF2B5EF4-FFF2-40B4-BE49-F238E27FC236}">
                  <a16:creationId xmlns:a16="http://schemas.microsoft.com/office/drawing/2014/main" id="{CB42C0E9-657D-28D2-D8B8-70962C786655}"/>
                </a:ext>
              </a:extLst>
            </p:cNvPr>
            <p:cNvSpPr/>
            <p:nvPr/>
          </p:nvSpPr>
          <p:spPr>
            <a:xfrm>
              <a:off x="6932847" y="902650"/>
              <a:ext cx="137963" cy="46532"/>
            </a:xfrm>
            <a:custGeom>
              <a:avLst/>
              <a:gdLst/>
              <a:ahLst/>
              <a:cxnLst/>
              <a:rect l="l" t="t" r="r" b="b"/>
              <a:pathLst>
                <a:path w="4311" h="1454" extrusionOk="0">
                  <a:moveTo>
                    <a:pt x="72" y="1"/>
                  </a:moveTo>
                  <a:lnTo>
                    <a:pt x="0" y="215"/>
                  </a:lnTo>
                  <a:lnTo>
                    <a:pt x="4239" y="1453"/>
                  </a:lnTo>
                  <a:lnTo>
                    <a:pt x="4310" y="1251"/>
                  </a:lnTo>
                  <a:lnTo>
                    <a:pt x="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3" name="Google Shape;1499;p38">
              <a:extLst>
                <a:ext uri="{FF2B5EF4-FFF2-40B4-BE49-F238E27FC236}">
                  <a16:creationId xmlns:a16="http://schemas.microsoft.com/office/drawing/2014/main" id="{AAF787AB-2651-23F8-4475-A9FB50C0CFFA}"/>
                </a:ext>
              </a:extLst>
            </p:cNvPr>
            <p:cNvSpPr/>
            <p:nvPr/>
          </p:nvSpPr>
          <p:spPr>
            <a:xfrm>
              <a:off x="6661917" y="823029"/>
              <a:ext cx="136811" cy="46500"/>
            </a:xfrm>
            <a:custGeom>
              <a:avLst/>
              <a:gdLst/>
              <a:ahLst/>
              <a:cxnLst/>
              <a:rect l="l" t="t" r="r" b="b"/>
              <a:pathLst>
                <a:path w="4275" h="1453" extrusionOk="0">
                  <a:moveTo>
                    <a:pt x="37" y="0"/>
                  </a:moveTo>
                  <a:lnTo>
                    <a:pt x="1" y="215"/>
                  </a:lnTo>
                  <a:lnTo>
                    <a:pt x="4239" y="1453"/>
                  </a:lnTo>
                  <a:lnTo>
                    <a:pt x="4275" y="1239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4" name="Google Shape;1500;p38">
              <a:extLst>
                <a:ext uri="{FF2B5EF4-FFF2-40B4-BE49-F238E27FC236}">
                  <a16:creationId xmlns:a16="http://schemas.microsoft.com/office/drawing/2014/main" id="{AA303089-6E60-E96D-C1A6-8D41789B9623}"/>
                </a:ext>
              </a:extLst>
            </p:cNvPr>
            <p:cNvSpPr/>
            <p:nvPr/>
          </p:nvSpPr>
          <p:spPr>
            <a:xfrm>
              <a:off x="6391020" y="743376"/>
              <a:ext cx="136811" cy="46532"/>
            </a:xfrm>
            <a:custGeom>
              <a:avLst/>
              <a:gdLst/>
              <a:ahLst/>
              <a:cxnLst/>
              <a:rect l="l" t="t" r="r" b="b"/>
              <a:pathLst>
                <a:path w="4275" h="1454" extrusionOk="0">
                  <a:moveTo>
                    <a:pt x="36" y="1"/>
                  </a:moveTo>
                  <a:lnTo>
                    <a:pt x="0" y="180"/>
                  </a:lnTo>
                  <a:lnTo>
                    <a:pt x="4239" y="1454"/>
                  </a:lnTo>
                  <a:lnTo>
                    <a:pt x="4275" y="1239"/>
                  </a:lnTo>
                  <a:lnTo>
                    <a:pt x="3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5" name="Google Shape;1501;p38">
              <a:extLst>
                <a:ext uri="{FF2B5EF4-FFF2-40B4-BE49-F238E27FC236}">
                  <a16:creationId xmlns:a16="http://schemas.microsoft.com/office/drawing/2014/main" id="{C1EA61BA-1029-1AC6-5CAC-C2A32232BD38}"/>
                </a:ext>
              </a:extLst>
            </p:cNvPr>
            <p:cNvSpPr/>
            <p:nvPr/>
          </p:nvSpPr>
          <p:spPr>
            <a:xfrm>
              <a:off x="6120122" y="664907"/>
              <a:ext cx="136811" cy="44227"/>
            </a:xfrm>
            <a:custGeom>
              <a:avLst/>
              <a:gdLst/>
              <a:ahLst/>
              <a:cxnLst/>
              <a:rect l="l" t="t" r="r" b="b"/>
              <a:pathLst>
                <a:path w="4275" h="1382" extrusionOk="0">
                  <a:moveTo>
                    <a:pt x="36" y="0"/>
                  </a:moveTo>
                  <a:lnTo>
                    <a:pt x="0" y="143"/>
                  </a:lnTo>
                  <a:lnTo>
                    <a:pt x="4239" y="1381"/>
                  </a:lnTo>
                  <a:lnTo>
                    <a:pt x="4274" y="1203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6" name="Google Shape;1502;p38">
              <a:extLst>
                <a:ext uri="{FF2B5EF4-FFF2-40B4-BE49-F238E27FC236}">
                  <a16:creationId xmlns:a16="http://schemas.microsoft.com/office/drawing/2014/main" id="{991FE0FA-8C0C-1BF3-7527-CAF97684B389}"/>
                </a:ext>
              </a:extLst>
            </p:cNvPr>
            <p:cNvSpPr/>
            <p:nvPr/>
          </p:nvSpPr>
          <p:spPr>
            <a:xfrm>
              <a:off x="5867498" y="563556"/>
              <a:ext cx="118505" cy="65925"/>
            </a:xfrm>
            <a:custGeom>
              <a:avLst/>
              <a:gdLst/>
              <a:ahLst/>
              <a:cxnLst/>
              <a:rect l="l" t="t" r="r" b="b"/>
              <a:pathLst>
                <a:path w="3703" h="2060" extrusionOk="0">
                  <a:moveTo>
                    <a:pt x="0" y="0"/>
                  </a:moveTo>
                  <a:cubicBezTo>
                    <a:pt x="0" y="393"/>
                    <a:pt x="179" y="738"/>
                    <a:pt x="500" y="1024"/>
                  </a:cubicBezTo>
                  <a:cubicBezTo>
                    <a:pt x="643" y="1131"/>
                    <a:pt x="822" y="1238"/>
                    <a:pt x="1000" y="1274"/>
                  </a:cubicBezTo>
                  <a:lnTo>
                    <a:pt x="1536" y="1453"/>
                  </a:lnTo>
                  <a:lnTo>
                    <a:pt x="3667" y="2060"/>
                  </a:lnTo>
                  <a:lnTo>
                    <a:pt x="3703" y="1917"/>
                  </a:lnTo>
                  <a:lnTo>
                    <a:pt x="1572" y="1274"/>
                  </a:lnTo>
                  <a:cubicBezTo>
                    <a:pt x="1250" y="1167"/>
                    <a:pt x="858" y="1096"/>
                    <a:pt x="607" y="881"/>
                  </a:cubicBezTo>
                  <a:cubicBezTo>
                    <a:pt x="322" y="667"/>
                    <a:pt x="179" y="322"/>
                    <a:pt x="1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7" name="Google Shape;1503;p38">
              <a:extLst>
                <a:ext uri="{FF2B5EF4-FFF2-40B4-BE49-F238E27FC236}">
                  <a16:creationId xmlns:a16="http://schemas.microsoft.com/office/drawing/2014/main" id="{35D59DBD-2C85-2864-D36A-93C77AD936BD}"/>
                </a:ext>
              </a:extLst>
            </p:cNvPr>
            <p:cNvSpPr/>
            <p:nvPr/>
          </p:nvSpPr>
          <p:spPr>
            <a:xfrm>
              <a:off x="5981426" y="456477"/>
              <a:ext cx="137579" cy="43075"/>
            </a:xfrm>
            <a:custGeom>
              <a:avLst/>
              <a:gdLst/>
              <a:ahLst/>
              <a:cxnLst/>
              <a:rect l="l" t="t" r="r" b="b"/>
              <a:pathLst>
                <a:path w="4299" h="1346" extrusionOk="0">
                  <a:moveTo>
                    <a:pt x="4263" y="1"/>
                  </a:moveTo>
                  <a:lnTo>
                    <a:pt x="0" y="1203"/>
                  </a:lnTo>
                  <a:lnTo>
                    <a:pt x="36" y="1346"/>
                  </a:lnTo>
                  <a:lnTo>
                    <a:pt x="4298" y="143"/>
                  </a:lnTo>
                  <a:lnTo>
                    <a:pt x="42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8" name="Google Shape;1504;p38">
              <a:extLst>
                <a:ext uri="{FF2B5EF4-FFF2-40B4-BE49-F238E27FC236}">
                  <a16:creationId xmlns:a16="http://schemas.microsoft.com/office/drawing/2014/main" id="{1DA6EF6D-6965-FD77-F6B0-9C3F1F28114D}"/>
                </a:ext>
              </a:extLst>
            </p:cNvPr>
            <p:cNvSpPr/>
            <p:nvPr/>
          </p:nvSpPr>
          <p:spPr>
            <a:xfrm>
              <a:off x="6253475" y="380281"/>
              <a:ext cx="136427" cy="41955"/>
            </a:xfrm>
            <a:custGeom>
              <a:avLst/>
              <a:gdLst/>
              <a:ahLst/>
              <a:cxnLst/>
              <a:rect l="l" t="t" r="r" b="b"/>
              <a:pathLst>
                <a:path w="4263" h="1311" extrusionOk="0">
                  <a:moveTo>
                    <a:pt x="4227" y="0"/>
                  </a:moveTo>
                  <a:lnTo>
                    <a:pt x="0" y="1167"/>
                  </a:lnTo>
                  <a:lnTo>
                    <a:pt x="36" y="1310"/>
                  </a:lnTo>
                  <a:lnTo>
                    <a:pt x="4263" y="72"/>
                  </a:lnTo>
                  <a:lnTo>
                    <a:pt x="42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9" name="Google Shape;1505;p38">
              <a:extLst>
                <a:ext uri="{FF2B5EF4-FFF2-40B4-BE49-F238E27FC236}">
                  <a16:creationId xmlns:a16="http://schemas.microsoft.com/office/drawing/2014/main" id="{A804F1BE-96E7-F69F-9E8B-A09D223A698C}"/>
                </a:ext>
              </a:extLst>
            </p:cNvPr>
            <p:cNvSpPr/>
            <p:nvPr/>
          </p:nvSpPr>
          <p:spPr>
            <a:xfrm>
              <a:off x="6525525" y="302932"/>
              <a:ext cx="136427" cy="40803"/>
            </a:xfrm>
            <a:custGeom>
              <a:avLst/>
              <a:gdLst/>
              <a:ahLst/>
              <a:cxnLst/>
              <a:rect l="l" t="t" r="r" b="b"/>
              <a:pathLst>
                <a:path w="4263" h="1275" extrusionOk="0">
                  <a:moveTo>
                    <a:pt x="4227" y="0"/>
                  </a:moveTo>
                  <a:lnTo>
                    <a:pt x="0" y="1203"/>
                  </a:lnTo>
                  <a:lnTo>
                    <a:pt x="0" y="1274"/>
                  </a:lnTo>
                  <a:lnTo>
                    <a:pt x="4263" y="72"/>
                  </a:lnTo>
                  <a:lnTo>
                    <a:pt x="42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0" name="Google Shape;1506;p38">
              <a:extLst>
                <a:ext uri="{FF2B5EF4-FFF2-40B4-BE49-F238E27FC236}">
                  <a16:creationId xmlns:a16="http://schemas.microsoft.com/office/drawing/2014/main" id="{198EA4CA-0394-8434-D68E-E80D88EB6D7D}"/>
                </a:ext>
              </a:extLst>
            </p:cNvPr>
            <p:cNvSpPr/>
            <p:nvPr/>
          </p:nvSpPr>
          <p:spPr>
            <a:xfrm>
              <a:off x="6797574" y="226351"/>
              <a:ext cx="135275" cy="40035"/>
            </a:xfrm>
            <a:custGeom>
              <a:avLst/>
              <a:gdLst/>
              <a:ahLst/>
              <a:cxnLst/>
              <a:rect l="l" t="t" r="r" b="b"/>
              <a:pathLst>
                <a:path w="4227" h="1251" extrusionOk="0">
                  <a:moveTo>
                    <a:pt x="4227" y="0"/>
                  </a:moveTo>
                  <a:lnTo>
                    <a:pt x="0" y="1179"/>
                  </a:lnTo>
                  <a:lnTo>
                    <a:pt x="0" y="1250"/>
                  </a:lnTo>
                  <a:lnTo>
                    <a:pt x="4227" y="36"/>
                  </a:lnTo>
                  <a:lnTo>
                    <a:pt x="42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1" name="Google Shape;1507;p38">
              <a:extLst>
                <a:ext uri="{FF2B5EF4-FFF2-40B4-BE49-F238E27FC236}">
                  <a16:creationId xmlns:a16="http://schemas.microsoft.com/office/drawing/2014/main" id="{587CB2D4-6368-9ACB-D0B4-38D83C3AB477}"/>
                </a:ext>
              </a:extLst>
            </p:cNvPr>
            <p:cNvSpPr/>
            <p:nvPr/>
          </p:nvSpPr>
          <p:spPr>
            <a:xfrm>
              <a:off x="7068472" y="149002"/>
              <a:ext cx="136459" cy="40035"/>
            </a:xfrm>
            <a:custGeom>
              <a:avLst/>
              <a:gdLst/>
              <a:ahLst/>
              <a:cxnLst/>
              <a:rect l="l" t="t" r="r" b="b"/>
              <a:pathLst>
                <a:path w="4264" h="1251" extrusionOk="0">
                  <a:moveTo>
                    <a:pt x="4263" y="0"/>
                  </a:moveTo>
                  <a:lnTo>
                    <a:pt x="1" y="1215"/>
                  </a:lnTo>
                  <a:lnTo>
                    <a:pt x="36" y="1250"/>
                  </a:lnTo>
                  <a:lnTo>
                    <a:pt x="4263" y="36"/>
                  </a:lnTo>
                  <a:lnTo>
                    <a:pt x="42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2" name="Google Shape;1508;p38">
              <a:extLst>
                <a:ext uri="{FF2B5EF4-FFF2-40B4-BE49-F238E27FC236}">
                  <a16:creationId xmlns:a16="http://schemas.microsoft.com/office/drawing/2014/main" id="{14BE276F-3B44-80FB-CE05-3D95C83DA376}"/>
                </a:ext>
              </a:extLst>
            </p:cNvPr>
            <p:cNvSpPr/>
            <p:nvPr/>
          </p:nvSpPr>
          <p:spPr>
            <a:xfrm>
              <a:off x="7340521" y="91078"/>
              <a:ext cx="68229" cy="19458"/>
            </a:xfrm>
            <a:custGeom>
              <a:avLst/>
              <a:gdLst/>
              <a:ahLst/>
              <a:cxnLst/>
              <a:rect l="l" t="t" r="r" b="b"/>
              <a:pathLst>
                <a:path w="2132" h="608" extrusionOk="0">
                  <a:moveTo>
                    <a:pt x="1" y="608"/>
                  </a:moveTo>
                  <a:lnTo>
                    <a:pt x="21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145" name="Google Shape;1511;p38">
            <a:extLst>
              <a:ext uri="{FF2B5EF4-FFF2-40B4-BE49-F238E27FC236}">
                <a16:creationId xmlns:a16="http://schemas.microsoft.com/office/drawing/2014/main" id="{D4230F10-1D02-1944-3757-AB27989CC871}"/>
              </a:ext>
            </a:extLst>
          </p:cNvPr>
          <p:cNvGrpSpPr/>
          <p:nvPr/>
        </p:nvGrpSpPr>
        <p:grpSpPr>
          <a:xfrm>
            <a:off x="10205362" y="4102439"/>
            <a:ext cx="706839" cy="1242945"/>
            <a:chOff x="7090167" y="2080277"/>
            <a:chExt cx="706839" cy="1242945"/>
          </a:xfrm>
          <a:solidFill>
            <a:srgbClr val="F3D713"/>
          </a:solidFill>
        </p:grpSpPr>
        <p:sp>
          <p:nvSpPr>
            <p:cNvPr id="4146" name="Google Shape;1512;p38">
              <a:extLst>
                <a:ext uri="{FF2B5EF4-FFF2-40B4-BE49-F238E27FC236}">
                  <a16:creationId xmlns:a16="http://schemas.microsoft.com/office/drawing/2014/main" id="{3D4B3F1B-6C1F-FBD3-4C6E-D737DEC1E78C}"/>
                </a:ext>
              </a:extLst>
            </p:cNvPr>
            <p:cNvSpPr/>
            <p:nvPr/>
          </p:nvSpPr>
          <p:spPr>
            <a:xfrm>
              <a:off x="7090167" y="2080277"/>
              <a:ext cx="706839" cy="1242945"/>
            </a:xfrm>
            <a:custGeom>
              <a:avLst/>
              <a:gdLst/>
              <a:ahLst/>
              <a:cxnLst/>
              <a:rect l="l" t="t" r="r" b="b"/>
              <a:pathLst>
                <a:path w="22087" h="38839" extrusionOk="0">
                  <a:moveTo>
                    <a:pt x="22087" y="11073"/>
                  </a:moveTo>
                  <a:cubicBezTo>
                    <a:pt x="22087" y="4977"/>
                    <a:pt x="17098" y="0"/>
                    <a:pt x="11002" y="0"/>
                  </a:cubicBezTo>
                  <a:cubicBezTo>
                    <a:pt x="4883" y="0"/>
                    <a:pt x="1" y="4977"/>
                    <a:pt x="1" y="11073"/>
                  </a:cubicBezTo>
                  <a:cubicBezTo>
                    <a:pt x="1" y="16979"/>
                    <a:pt x="4537" y="21813"/>
                    <a:pt x="10490" y="22158"/>
                  </a:cubicBezTo>
                  <a:lnTo>
                    <a:pt x="10490" y="34636"/>
                  </a:lnTo>
                  <a:cubicBezTo>
                    <a:pt x="9455" y="34921"/>
                    <a:pt x="8931" y="35743"/>
                    <a:pt x="8931" y="36683"/>
                  </a:cubicBezTo>
                  <a:cubicBezTo>
                    <a:pt x="8931" y="37862"/>
                    <a:pt x="9836" y="38838"/>
                    <a:pt x="11050" y="38838"/>
                  </a:cubicBezTo>
                  <a:cubicBezTo>
                    <a:pt x="12217" y="38838"/>
                    <a:pt x="13169" y="37862"/>
                    <a:pt x="13169" y="36683"/>
                  </a:cubicBezTo>
                  <a:cubicBezTo>
                    <a:pt x="13169" y="35731"/>
                    <a:pt x="12586" y="34909"/>
                    <a:pt x="11693" y="34624"/>
                  </a:cubicBezTo>
                  <a:lnTo>
                    <a:pt x="11693" y="22158"/>
                  </a:lnTo>
                  <a:cubicBezTo>
                    <a:pt x="17491" y="21813"/>
                    <a:pt x="22087" y="16979"/>
                    <a:pt x="22087" y="11073"/>
                  </a:cubicBezTo>
                  <a:close/>
                  <a:moveTo>
                    <a:pt x="2418" y="11073"/>
                  </a:moveTo>
                  <a:cubicBezTo>
                    <a:pt x="2418" y="6346"/>
                    <a:pt x="6264" y="2536"/>
                    <a:pt x="10990" y="2536"/>
                  </a:cubicBezTo>
                  <a:cubicBezTo>
                    <a:pt x="15717" y="2536"/>
                    <a:pt x="19563" y="6346"/>
                    <a:pt x="19563" y="11073"/>
                  </a:cubicBezTo>
                  <a:cubicBezTo>
                    <a:pt x="19563" y="15800"/>
                    <a:pt x="15717" y="19634"/>
                    <a:pt x="10990" y="19634"/>
                  </a:cubicBezTo>
                  <a:cubicBezTo>
                    <a:pt x="6264" y="19634"/>
                    <a:pt x="2418" y="15800"/>
                    <a:pt x="2418" y="1107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4147" name="Google Shape;1513;p38">
              <a:extLst>
                <a:ext uri="{FF2B5EF4-FFF2-40B4-BE49-F238E27FC236}">
                  <a16:creationId xmlns:a16="http://schemas.microsoft.com/office/drawing/2014/main" id="{22ED6198-7B7F-4844-E0AF-7CDF8DBD8F25}"/>
                </a:ext>
              </a:extLst>
            </p:cNvPr>
            <p:cNvGrpSpPr/>
            <p:nvPr/>
          </p:nvGrpSpPr>
          <p:grpSpPr>
            <a:xfrm>
              <a:off x="7253814" y="2244864"/>
              <a:ext cx="380650" cy="380618"/>
              <a:chOff x="-4478975" y="3251700"/>
              <a:chExt cx="293825" cy="293800"/>
            </a:xfrm>
            <a:grpFill/>
          </p:grpSpPr>
          <p:sp>
            <p:nvSpPr>
              <p:cNvPr id="4148" name="Google Shape;1514;p38">
                <a:extLst>
                  <a:ext uri="{FF2B5EF4-FFF2-40B4-BE49-F238E27FC236}">
                    <a16:creationId xmlns:a16="http://schemas.microsoft.com/office/drawing/2014/main" id="{7363EBA2-EB43-D3C1-7A35-E2791B625AD7}"/>
                  </a:ext>
                </a:extLst>
              </p:cNvPr>
              <p:cNvSpPr/>
              <p:nvPr/>
            </p:nvSpPr>
            <p:spPr>
              <a:xfrm>
                <a:off x="-4375000" y="3365100"/>
                <a:ext cx="85075" cy="110900"/>
              </a:xfrm>
              <a:custGeom>
                <a:avLst/>
                <a:gdLst/>
                <a:ahLst/>
                <a:cxnLst/>
                <a:rect l="l" t="t" r="r" b="b"/>
                <a:pathLst>
                  <a:path w="3403" h="4436" extrusionOk="0">
                    <a:moveTo>
                      <a:pt x="662" y="1"/>
                    </a:moveTo>
                    <a:cubicBezTo>
                      <a:pt x="221" y="316"/>
                      <a:pt x="0" y="820"/>
                      <a:pt x="0" y="1387"/>
                    </a:cubicBezTo>
                    <a:cubicBezTo>
                      <a:pt x="0" y="2080"/>
                      <a:pt x="473" y="2773"/>
                      <a:pt x="1135" y="2994"/>
                    </a:cubicBezTo>
                    <a:cubicBezTo>
                      <a:pt x="1261" y="3025"/>
                      <a:pt x="1355" y="3183"/>
                      <a:pt x="1355" y="3309"/>
                    </a:cubicBezTo>
                    <a:lnTo>
                      <a:pt x="1355" y="4412"/>
                    </a:lnTo>
                    <a:cubicBezTo>
                      <a:pt x="1576" y="4427"/>
                      <a:pt x="1647" y="4435"/>
                      <a:pt x="1714" y="4435"/>
                    </a:cubicBezTo>
                    <a:cubicBezTo>
                      <a:pt x="1780" y="4435"/>
                      <a:pt x="1843" y="4427"/>
                      <a:pt x="2048" y="4412"/>
                    </a:cubicBezTo>
                    <a:lnTo>
                      <a:pt x="2048" y="3309"/>
                    </a:lnTo>
                    <a:cubicBezTo>
                      <a:pt x="2048" y="3151"/>
                      <a:pt x="2111" y="3025"/>
                      <a:pt x="2269" y="2994"/>
                    </a:cubicBezTo>
                    <a:cubicBezTo>
                      <a:pt x="2962" y="2710"/>
                      <a:pt x="3403" y="2080"/>
                      <a:pt x="3403" y="1387"/>
                    </a:cubicBezTo>
                    <a:cubicBezTo>
                      <a:pt x="3403" y="820"/>
                      <a:pt x="3119" y="316"/>
                      <a:pt x="2741" y="1"/>
                    </a:cubicBezTo>
                    <a:lnTo>
                      <a:pt x="2741" y="1387"/>
                    </a:lnTo>
                    <a:cubicBezTo>
                      <a:pt x="2741" y="1576"/>
                      <a:pt x="2584" y="1734"/>
                      <a:pt x="2395" y="1734"/>
                    </a:cubicBezTo>
                    <a:lnTo>
                      <a:pt x="1009" y="1734"/>
                    </a:lnTo>
                    <a:cubicBezTo>
                      <a:pt x="820" y="1734"/>
                      <a:pt x="662" y="1576"/>
                      <a:pt x="662" y="1387"/>
                    </a:cubicBezTo>
                    <a:lnTo>
                      <a:pt x="662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49" name="Google Shape;1515;p38">
                <a:extLst>
                  <a:ext uri="{FF2B5EF4-FFF2-40B4-BE49-F238E27FC236}">
                    <a16:creationId xmlns:a16="http://schemas.microsoft.com/office/drawing/2014/main" id="{5E88EE89-676D-3D28-E828-472C37ECFD18}"/>
                  </a:ext>
                </a:extLst>
              </p:cNvPr>
              <p:cNvSpPr/>
              <p:nvPr/>
            </p:nvSpPr>
            <p:spPr>
              <a:xfrm>
                <a:off x="-4408875" y="3321800"/>
                <a:ext cx="154400" cy="148875"/>
              </a:xfrm>
              <a:custGeom>
                <a:avLst/>
                <a:gdLst/>
                <a:ahLst/>
                <a:cxnLst/>
                <a:rect l="l" t="t" r="r" b="b"/>
                <a:pathLst>
                  <a:path w="6176" h="5955" extrusionOk="0">
                    <a:moveTo>
                      <a:pt x="3057" y="0"/>
                    </a:moveTo>
                    <a:cubicBezTo>
                      <a:pt x="1387" y="0"/>
                      <a:pt x="1" y="1386"/>
                      <a:pt x="1" y="3088"/>
                    </a:cubicBezTo>
                    <a:cubicBezTo>
                      <a:pt x="1" y="4411"/>
                      <a:pt x="851" y="5545"/>
                      <a:pt x="2049" y="5954"/>
                    </a:cubicBezTo>
                    <a:lnTo>
                      <a:pt x="2049" y="5230"/>
                    </a:lnTo>
                    <a:cubicBezTo>
                      <a:pt x="1229" y="4852"/>
                      <a:pt x="662" y="4001"/>
                      <a:pt x="662" y="3088"/>
                    </a:cubicBezTo>
                    <a:cubicBezTo>
                      <a:pt x="662" y="2048"/>
                      <a:pt x="1292" y="1134"/>
                      <a:pt x="2269" y="819"/>
                    </a:cubicBezTo>
                    <a:cubicBezTo>
                      <a:pt x="2307" y="810"/>
                      <a:pt x="2344" y="805"/>
                      <a:pt x="2380" y="805"/>
                    </a:cubicBezTo>
                    <a:cubicBezTo>
                      <a:pt x="2583" y="805"/>
                      <a:pt x="2742" y="947"/>
                      <a:pt x="2742" y="1134"/>
                    </a:cubicBezTo>
                    <a:lnTo>
                      <a:pt x="2742" y="2710"/>
                    </a:lnTo>
                    <a:lnTo>
                      <a:pt x="3435" y="2710"/>
                    </a:lnTo>
                    <a:lnTo>
                      <a:pt x="3435" y="1134"/>
                    </a:lnTo>
                    <a:cubicBezTo>
                      <a:pt x="3435" y="947"/>
                      <a:pt x="3594" y="805"/>
                      <a:pt x="3796" y="805"/>
                    </a:cubicBezTo>
                    <a:cubicBezTo>
                      <a:pt x="3832" y="805"/>
                      <a:pt x="3869" y="810"/>
                      <a:pt x="3907" y="819"/>
                    </a:cubicBezTo>
                    <a:cubicBezTo>
                      <a:pt x="4852" y="1197"/>
                      <a:pt x="5514" y="2079"/>
                      <a:pt x="5514" y="3088"/>
                    </a:cubicBezTo>
                    <a:cubicBezTo>
                      <a:pt x="5514" y="4001"/>
                      <a:pt x="4947" y="4852"/>
                      <a:pt x="4128" y="5230"/>
                    </a:cubicBezTo>
                    <a:lnTo>
                      <a:pt x="4128" y="5954"/>
                    </a:lnTo>
                    <a:cubicBezTo>
                      <a:pt x="5325" y="5513"/>
                      <a:pt x="6176" y="4411"/>
                      <a:pt x="6176" y="3088"/>
                    </a:cubicBezTo>
                    <a:cubicBezTo>
                      <a:pt x="6144" y="1386"/>
                      <a:pt x="4758" y="0"/>
                      <a:pt x="305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50" name="Google Shape;1516;p38">
                <a:extLst>
                  <a:ext uri="{FF2B5EF4-FFF2-40B4-BE49-F238E27FC236}">
                    <a16:creationId xmlns:a16="http://schemas.microsoft.com/office/drawing/2014/main" id="{078DE79D-5728-F915-81E2-395DE646BC91}"/>
                  </a:ext>
                </a:extLst>
              </p:cNvPr>
              <p:cNvSpPr/>
              <p:nvPr/>
            </p:nvSpPr>
            <p:spPr>
              <a:xfrm>
                <a:off x="-4478975" y="3251700"/>
                <a:ext cx="293825" cy="293800"/>
              </a:xfrm>
              <a:custGeom>
                <a:avLst/>
                <a:gdLst/>
                <a:ahLst/>
                <a:cxnLst/>
                <a:rect l="l" t="t" r="r" b="b"/>
                <a:pathLst>
                  <a:path w="11753" h="11752" extrusionOk="0">
                    <a:moveTo>
                      <a:pt x="5861" y="2111"/>
                    </a:moveTo>
                    <a:cubicBezTo>
                      <a:pt x="7972" y="2111"/>
                      <a:pt x="9641" y="3781"/>
                      <a:pt x="9641" y="5892"/>
                    </a:cubicBezTo>
                    <a:cubicBezTo>
                      <a:pt x="9610" y="7971"/>
                      <a:pt x="7909" y="9672"/>
                      <a:pt x="5861" y="9672"/>
                    </a:cubicBezTo>
                    <a:cubicBezTo>
                      <a:pt x="3781" y="9672"/>
                      <a:pt x="2080" y="7971"/>
                      <a:pt x="2080" y="5892"/>
                    </a:cubicBezTo>
                    <a:cubicBezTo>
                      <a:pt x="2080" y="3781"/>
                      <a:pt x="3781" y="2111"/>
                      <a:pt x="5861" y="2111"/>
                    </a:cubicBezTo>
                    <a:close/>
                    <a:moveTo>
                      <a:pt x="5168" y="0"/>
                    </a:moveTo>
                    <a:cubicBezTo>
                      <a:pt x="5010" y="0"/>
                      <a:pt x="4884" y="126"/>
                      <a:pt x="4853" y="284"/>
                    </a:cubicBezTo>
                    <a:lnTo>
                      <a:pt x="4695" y="882"/>
                    </a:lnTo>
                    <a:cubicBezTo>
                      <a:pt x="4128" y="1008"/>
                      <a:pt x="3624" y="1229"/>
                      <a:pt x="3120" y="1512"/>
                    </a:cubicBezTo>
                    <a:lnTo>
                      <a:pt x="2616" y="1197"/>
                    </a:lnTo>
                    <a:cubicBezTo>
                      <a:pt x="2557" y="1153"/>
                      <a:pt x="2485" y="1130"/>
                      <a:pt x="2412" y="1130"/>
                    </a:cubicBezTo>
                    <a:cubicBezTo>
                      <a:pt x="2328" y="1130"/>
                      <a:pt x="2242" y="1161"/>
                      <a:pt x="2175" y="1229"/>
                    </a:cubicBezTo>
                    <a:lnTo>
                      <a:pt x="1198" y="2205"/>
                    </a:lnTo>
                    <a:cubicBezTo>
                      <a:pt x="1072" y="2332"/>
                      <a:pt x="1072" y="2489"/>
                      <a:pt x="1135" y="2647"/>
                    </a:cubicBezTo>
                    <a:lnTo>
                      <a:pt x="1450" y="3151"/>
                    </a:lnTo>
                    <a:cubicBezTo>
                      <a:pt x="1135" y="3623"/>
                      <a:pt x="946" y="4190"/>
                      <a:pt x="820" y="4726"/>
                    </a:cubicBezTo>
                    <a:lnTo>
                      <a:pt x="284" y="4883"/>
                    </a:lnTo>
                    <a:cubicBezTo>
                      <a:pt x="127" y="4946"/>
                      <a:pt x="1" y="5041"/>
                      <a:pt x="1" y="5198"/>
                    </a:cubicBezTo>
                    <a:lnTo>
                      <a:pt x="1" y="6585"/>
                    </a:lnTo>
                    <a:cubicBezTo>
                      <a:pt x="1" y="6742"/>
                      <a:pt x="127" y="6868"/>
                      <a:pt x="284" y="6900"/>
                    </a:cubicBezTo>
                    <a:lnTo>
                      <a:pt x="820" y="7057"/>
                    </a:lnTo>
                    <a:cubicBezTo>
                      <a:pt x="946" y="7593"/>
                      <a:pt x="1198" y="8128"/>
                      <a:pt x="1450" y="8632"/>
                    </a:cubicBezTo>
                    <a:lnTo>
                      <a:pt x="1135" y="9137"/>
                    </a:lnTo>
                    <a:cubicBezTo>
                      <a:pt x="1072" y="9263"/>
                      <a:pt x="1072" y="9452"/>
                      <a:pt x="1198" y="9578"/>
                    </a:cubicBezTo>
                    <a:lnTo>
                      <a:pt x="2175" y="10554"/>
                    </a:lnTo>
                    <a:cubicBezTo>
                      <a:pt x="2248" y="10628"/>
                      <a:pt x="2333" y="10659"/>
                      <a:pt x="2422" y="10659"/>
                    </a:cubicBezTo>
                    <a:cubicBezTo>
                      <a:pt x="2485" y="10659"/>
                      <a:pt x="2550" y="10643"/>
                      <a:pt x="2616" y="10617"/>
                    </a:cubicBezTo>
                    <a:lnTo>
                      <a:pt x="3120" y="10302"/>
                    </a:lnTo>
                    <a:cubicBezTo>
                      <a:pt x="3592" y="10617"/>
                      <a:pt x="4128" y="10806"/>
                      <a:pt x="4695" y="10932"/>
                    </a:cubicBezTo>
                    <a:lnTo>
                      <a:pt x="4853" y="11468"/>
                    </a:lnTo>
                    <a:cubicBezTo>
                      <a:pt x="4884" y="11625"/>
                      <a:pt x="5010" y="11751"/>
                      <a:pt x="5168" y="11751"/>
                    </a:cubicBezTo>
                    <a:lnTo>
                      <a:pt x="6554" y="11751"/>
                    </a:lnTo>
                    <a:cubicBezTo>
                      <a:pt x="6711" y="11751"/>
                      <a:pt x="6806" y="11625"/>
                      <a:pt x="6869" y="11468"/>
                    </a:cubicBezTo>
                    <a:lnTo>
                      <a:pt x="7026" y="10932"/>
                    </a:lnTo>
                    <a:cubicBezTo>
                      <a:pt x="7562" y="10806"/>
                      <a:pt x="8066" y="10554"/>
                      <a:pt x="8602" y="10302"/>
                    </a:cubicBezTo>
                    <a:lnTo>
                      <a:pt x="9106" y="10617"/>
                    </a:lnTo>
                    <a:cubicBezTo>
                      <a:pt x="9158" y="10643"/>
                      <a:pt x="9221" y="10659"/>
                      <a:pt x="9286" y="10659"/>
                    </a:cubicBezTo>
                    <a:cubicBezTo>
                      <a:pt x="9378" y="10659"/>
                      <a:pt x="9473" y="10628"/>
                      <a:pt x="9547" y="10554"/>
                    </a:cubicBezTo>
                    <a:lnTo>
                      <a:pt x="10523" y="9578"/>
                    </a:lnTo>
                    <a:cubicBezTo>
                      <a:pt x="10649" y="9452"/>
                      <a:pt x="10649" y="9294"/>
                      <a:pt x="10555" y="9137"/>
                    </a:cubicBezTo>
                    <a:lnTo>
                      <a:pt x="10240" y="8632"/>
                    </a:lnTo>
                    <a:cubicBezTo>
                      <a:pt x="10555" y="8160"/>
                      <a:pt x="10744" y="7593"/>
                      <a:pt x="10870" y="7057"/>
                    </a:cubicBezTo>
                    <a:lnTo>
                      <a:pt x="11469" y="6900"/>
                    </a:lnTo>
                    <a:cubicBezTo>
                      <a:pt x="11626" y="6868"/>
                      <a:pt x="11752" y="6742"/>
                      <a:pt x="11752" y="6585"/>
                    </a:cubicBezTo>
                    <a:lnTo>
                      <a:pt x="11752" y="5198"/>
                    </a:lnTo>
                    <a:cubicBezTo>
                      <a:pt x="11752" y="5041"/>
                      <a:pt x="11626" y="4946"/>
                      <a:pt x="11469" y="4883"/>
                    </a:cubicBezTo>
                    <a:lnTo>
                      <a:pt x="10870" y="4726"/>
                    </a:lnTo>
                    <a:cubicBezTo>
                      <a:pt x="10744" y="4190"/>
                      <a:pt x="10523" y="3686"/>
                      <a:pt x="10240" y="3151"/>
                    </a:cubicBezTo>
                    <a:lnTo>
                      <a:pt x="10555" y="2647"/>
                    </a:lnTo>
                    <a:cubicBezTo>
                      <a:pt x="10649" y="2521"/>
                      <a:pt x="10649" y="2332"/>
                      <a:pt x="10523" y="2205"/>
                    </a:cubicBezTo>
                    <a:lnTo>
                      <a:pt x="9547" y="1229"/>
                    </a:lnTo>
                    <a:cubicBezTo>
                      <a:pt x="9479" y="1161"/>
                      <a:pt x="9403" y="1130"/>
                      <a:pt x="9322" y="1130"/>
                    </a:cubicBezTo>
                    <a:cubicBezTo>
                      <a:pt x="9252" y="1130"/>
                      <a:pt x="9179" y="1153"/>
                      <a:pt x="9106" y="1197"/>
                    </a:cubicBezTo>
                    <a:lnTo>
                      <a:pt x="8602" y="1512"/>
                    </a:lnTo>
                    <a:cubicBezTo>
                      <a:pt x="8129" y="1197"/>
                      <a:pt x="7562" y="1008"/>
                      <a:pt x="7026" y="882"/>
                    </a:cubicBezTo>
                    <a:lnTo>
                      <a:pt x="6869" y="284"/>
                    </a:lnTo>
                    <a:cubicBezTo>
                      <a:pt x="6806" y="126"/>
                      <a:pt x="6711" y="0"/>
                      <a:pt x="655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4152" name="Google Shape;1518;p38">
            <a:extLst>
              <a:ext uri="{FF2B5EF4-FFF2-40B4-BE49-F238E27FC236}">
                <a16:creationId xmlns:a16="http://schemas.microsoft.com/office/drawing/2014/main" id="{4D75A8C7-A9CE-4558-7028-962AAA78E146}"/>
              </a:ext>
            </a:extLst>
          </p:cNvPr>
          <p:cNvSpPr/>
          <p:nvPr/>
        </p:nvSpPr>
        <p:spPr>
          <a:xfrm>
            <a:off x="5917284" y="4883012"/>
            <a:ext cx="876772" cy="1537112"/>
          </a:xfrm>
          <a:custGeom>
            <a:avLst/>
            <a:gdLst/>
            <a:ahLst/>
            <a:cxnLst/>
            <a:rect l="l" t="t" r="r" b="b"/>
            <a:pathLst>
              <a:path w="27397" h="48031" extrusionOk="0">
                <a:moveTo>
                  <a:pt x="27397" y="13693"/>
                </a:moveTo>
                <a:cubicBezTo>
                  <a:pt x="27397" y="6156"/>
                  <a:pt x="21229" y="1"/>
                  <a:pt x="13693" y="1"/>
                </a:cubicBezTo>
                <a:cubicBezTo>
                  <a:pt x="6120" y="1"/>
                  <a:pt x="1" y="6156"/>
                  <a:pt x="1" y="13693"/>
                </a:cubicBezTo>
                <a:cubicBezTo>
                  <a:pt x="1" y="20991"/>
                  <a:pt x="5751" y="26980"/>
                  <a:pt x="12895" y="27397"/>
                </a:cubicBezTo>
                <a:lnTo>
                  <a:pt x="12895" y="42827"/>
                </a:lnTo>
                <a:cubicBezTo>
                  <a:pt x="11704" y="43173"/>
                  <a:pt x="11038" y="44196"/>
                  <a:pt x="11038" y="45363"/>
                </a:cubicBezTo>
                <a:cubicBezTo>
                  <a:pt x="11038" y="46816"/>
                  <a:pt x="12216" y="48030"/>
                  <a:pt x="13705" y="48030"/>
                </a:cubicBezTo>
                <a:cubicBezTo>
                  <a:pt x="15157" y="48030"/>
                  <a:pt x="16360" y="46816"/>
                  <a:pt x="16360" y="45363"/>
                </a:cubicBezTo>
                <a:cubicBezTo>
                  <a:pt x="16360" y="44185"/>
                  <a:pt x="15574" y="43161"/>
                  <a:pt x="14538" y="42815"/>
                </a:cubicBezTo>
                <a:lnTo>
                  <a:pt x="14538" y="27397"/>
                </a:lnTo>
                <a:cubicBezTo>
                  <a:pt x="21682" y="26980"/>
                  <a:pt x="27397" y="20991"/>
                  <a:pt x="27397" y="13693"/>
                </a:cubicBezTo>
                <a:close/>
                <a:moveTo>
                  <a:pt x="3084" y="13693"/>
                </a:moveTo>
                <a:cubicBezTo>
                  <a:pt x="3084" y="7847"/>
                  <a:pt x="7835" y="3144"/>
                  <a:pt x="13681" y="3144"/>
                </a:cubicBezTo>
                <a:cubicBezTo>
                  <a:pt x="19527" y="3144"/>
                  <a:pt x="24277" y="7847"/>
                  <a:pt x="24277" y="13693"/>
                </a:cubicBezTo>
                <a:cubicBezTo>
                  <a:pt x="24277" y="19539"/>
                  <a:pt x="19527" y="24289"/>
                  <a:pt x="13681" y="24289"/>
                </a:cubicBezTo>
                <a:cubicBezTo>
                  <a:pt x="7835" y="24289"/>
                  <a:pt x="3084" y="19539"/>
                  <a:pt x="3084" y="1369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56" name="Google Shape;1522;p38">
            <a:extLst>
              <a:ext uri="{FF2B5EF4-FFF2-40B4-BE49-F238E27FC236}">
                <a16:creationId xmlns:a16="http://schemas.microsoft.com/office/drawing/2014/main" id="{0C0B8BAD-8EE5-38B5-E552-9082CBBB210C}"/>
              </a:ext>
            </a:extLst>
          </p:cNvPr>
          <p:cNvGrpSpPr/>
          <p:nvPr/>
        </p:nvGrpSpPr>
        <p:grpSpPr>
          <a:xfrm>
            <a:off x="8057054" y="4446450"/>
            <a:ext cx="794846" cy="1393837"/>
            <a:chOff x="3845149" y="2641166"/>
            <a:chExt cx="794846" cy="1393837"/>
          </a:xfrm>
        </p:grpSpPr>
        <p:sp>
          <p:nvSpPr>
            <p:cNvPr id="4157" name="Google Shape;1523;p38">
              <a:extLst>
                <a:ext uri="{FF2B5EF4-FFF2-40B4-BE49-F238E27FC236}">
                  <a16:creationId xmlns:a16="http://schemas.microsoft.com/office/drawing/2014/main" id="{0B5386A5-BE99-5281-91DF-F6F2E17F2517}"/>
                </a:ext>
              </a:extLst>
            </p:cNvPr>
            <p:cNvSpPr/>
            <p:nvPr/>
          </p:nvSpPr>
          <p:spPr>
            <a:xfrm>
              <a:off x="3845149" y="2641166"/>
              <a:ext cx="794846" cy="1393837"/>
            </a:xfrm>
            <a:custGeom>
              <a:avLst/>
              <a:gdLst/>
              <a:ahLst/>
              <a:cxnLst/>
              <a:rect l="l" t="t" r="r" b="b"/>
              <a:pathLst>
                <a:path w="24837" h="43554" extrusionOk="0">
                  <a:moveTo>
                    <a:pt x="24837" y="12418"/>
                  </a:moveTo>
                  <a:cubicBezTo>
                    <a:pt x="24837" y="5584"/>
                    <a:pt x="19229" y="0"/>
                    <a:pt x="12407" y="0"/>
                  </a:cubicBezTo>
                  <a:cubicBezTo>
                    <a:pt x="5537" y="0"/>
                    <a:pt x="0" y="5584"/>
                    <a:pt x="0" y="12418"/>
                  </a:cubicBezTo>
                  <a:cubicBezTo>
                    <a:pt x="0" y="19038"/>
                    <a:pt x="5144" y="24467"/>
                    <a:pt x="11692" y="24848"/>
                  </a:cubicBezTo>
                  <a:lnTo>
                    <a:pt x="11692" y="38826"/>
                  </a:lnTo>
                  <a:cubicBezTo>
                    <a:pt x="10657" y="39148"/>
                    <a:pt x="10002" y="40065"/>
                    <a:pt x="10002" y="41124"/>
                  </a:cubicBezTo>
                  <a:cubicBezTo>
                    <a:pt x="10002" y="42446"/>
                    <a:pt x="11061" y="43553"/>
                    <a:pt x="12419" y="43553"/>
                  </a:cubicBezTo>
                  <a:cubicBezTo>
                    <a:pt x="13728" y="43553"/>
                    <a:pt x="14824" y="42446"/>
                    <a:pt x="14824" y="41124"/>
                  </a:cubicBezTo>
                  <a:cubicBezTo>
                    <a:pt x="14824" y="40065"/>
                    <a:pt x="14074" y="39136"/>
                    <a:pt x="13181" y="38826"/>
                  </a:cubicBezTo>
                  <a:lnTo>
                    <a:pt x="13181" y="24848"/>
                  </a:lnTo>
                  <a:cubicBezTo>
                    <a:pt x="19586" y="24467"/>
                    <a:pt x="24837" y="19038"/>
                    <a:pt x="24837" y="12418"/>
                  </a:cubicBezTo>
                  <a:close/>
                  <a:moveTo>
                    <a:pt x="2787" y="12418"/>
                  </a:moveTo>
                  <a:cubicBezTo>
                    <a:pt x="2787" y="7120"/>
                    <a:pt x="7097" y="2846"/>
                    <a:pt x="12395" y="2846"/>
                  </a:cubicBezTo>
                  <a:cubicBezTo>
                    <a:pt x="17693" y="2846"/>
                    <a:pt x="21991" y="7120"/>
                    <a:pt x="21991" y="12418"/>
                  </a:cubicBezTo>
                  <a:cubicBezTo>
                    <a:pt x="21991" y="17717"/>
                    <a:pt x="17693" y="22015"/>
                    <a:pt x="12395" y="22015"/>
                  </a:cubicBezTo>
                  <a:cubicBezTo>
                    <a:pt x="7097" y="22015"/>
                    <a:pt x="2787" y="17717"/>
                    <a:pt x="2787" y="1241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4158" name="Google Shape;1524;p38">
              <a:extLst>
                <a:ext uri="{FF2B5EF4-FFF2-40B4-BE49-F238E27FC236}">
                  <a16:creationId xmlns:a16="http://schemas.microsoft.com/office/drawing/2014/main" id="{8772CE56-729C-75B3-F529-269C4E5AF204}"/>
                </a:ext>
              </a:extLst>
            </p:cNvPr>
            <p:cNvGrpSpPr/>
            <p:nvPr/>
          </p:nvGrpSpPr>
          <p:grpSpPr>
            <a:xfrm>
              <a:off x="4040132" y="3017082"/>
              <a:ext cx="171276" cy="166453"/>
              <a:chOff x="-5246900" y="3766400"/>
              <a:chExt cx="118950" cy="115600"/>
            </a:xfrm>
          </p:grpSpPr>
          <p:sp>
            <p:nvSpPr>
              <p:cNvPr id="4159" name="Google Shape;1525;p38">
                <a:extLst>
                  <a:ext uri="{FF2B5EF4-FFF2-40B4-BE49-F238E27FC236}">
                    <a16:creationId xmlns:a16="http://schemas.microsoft.com/office/drawing/2014/main" id="{B34CDB35-B4B7-259E-DC4A-CB849A66E4AB}"/>
                  </a:ext>
                </a:extLst>
              </p:cNvPr>
              <p:cNvSpPr/>
              <p:nvPr/>
            </p:nvSpPr>
            <p:spPr>
              <a:xfrm>
                <a:off x="-5246900" y="3766400"/>
                <a:ext cx="58300" cy="55150"/>
              </a:xfrm>
              <a:custGeom>
                <a:avLst/>
                <a:gdLst/>
                <a:ahLst/>
                <a:cxnLst/>
                <a:rect l="l" t="t" r="r" b="b"/>
                <a:pathLst>
                  <a:path w="2332" h="2206" extrusionOk="0">
                    <a:moveTo>
                      <a:pt x="1769" y="1"/>
                    </a:moveTo>
                    <a:cubicBezTo>
                      <a:pt x="1639" y="1"/>
                      <a:pt x="1513" y="48"/>
                      <a:pt x="1418" y="142"/>
                    </a:cubicBezTo>
                    <a:lnTo>
                      <a:pt x="189" y="1371"/>
                    </a:lnTo>
                    <a:cubicBezTo>
                      <a:pt x="0" y="1560"/>
                      <a:pt x="0" y="1875"/>
                      <a:pt x="189" y="2064"/>
                    </a:cubicBezTo>
                    <a:cubicBezTo>
                      <a:pt x="300" y="2159"/>
                      <a:pt x="434" y="2206"/>
                      <a:pt x="564" y="2206"/>
                    </a:cubicBezTo>
                    <a:cubicBezTo>
                      <a:pt x="694" y="2206"/>
                      <a:pt x="820" y="2159"/>
                      <a:pt x="914" y="2064"/>
                    </a:cubicBezTo>
                    <a:lnTo>
                      <a:pt x="2143" y="835"/>
                    </a:lnTo>
                    <a:cubicBezTo>
                      <a:pt x="2332" y="646"/>
                      <a:pt x="2332" y="331"/>
                      <a:pt x="2143" y="142"/>
                    </a:cubicBezTo>
                    <a:cubicBezTo>
                      <a:pt x="2033" y="48"/>
                      <a:pt x="1899" y="1"/>
                      <a:pt x="1769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59392" name="Google Shape;1526;p38">
                <a:extLst>
                  <a:ext uri="{FF2B5EF4-FFF2-40B4-BE49-F238E27FC236}">
                    <a16:creationId xmlns:a16="http://schemas.microsoft.com/office/drawing/2014/main" id="{914517A7-88E5-F6C1-BEFF-C316BD637A26}"/>
                  </a:ext>
                </a:extLst>
              </p:cNvPr>
              <p:cNvSpPr/>
              <p:nvPr/>
            </p:nvSpPr>
            <p:spPr>
              <a:xfrm>
                <a:off x="-5216175" y="3795550"/>
                <a:ext cx="58300" cy="55950"/>
              </a:xfrm>
              <a:custGeom>
                <a:avLst/>
                <a:gdLst/>
                <a:ahLst/>
                <a:cxnLst/>
                <a:rect l="l" t="t" r="r" b="b"/>
                <a:pathLst>
                  <a:path w="2332" h="2238" extrusionOk="0">
                    <a:moveTo>
                      <a:pt x="1764" y="0"/>
                    </a:moveTo>
                    <a:cubicBezTo>
                      <a:pt x="1638" y="0"/>
                      <a:pt x="1512" y="47"/>
                      <a:pt x="1418" y="142"/>
                    </a:cubicBezTo>
                    <a:lnTo>
                      <a:pt x="189" y="1371"/>
                    </a:lnTo>
                    <a:cubicBezTo>
                      <a:pt x="0" y="1560"/>
                      <a:pt x="0" y="1875"/>
                      <a:pt x="189" y="2095"/>
                    </a:cubicBezTo>
                    <a:cubicBezTo>
                      <a:pt x="284" y="2190"/>
                      <a:pt x="410" y="2237"/>
                      <a:pt x="540" y="2237"/>
                    </a:cubicBezTo>
                    <a:cubicBezTo>
                      <a:pt x="670" y="2237"/>
                      <a:pt x="804" y="2190"/>
                      <a:pt x="914" y="2095"/>
                    </a:cubicBezTo>
                    <a:lnTo>
                      <a:pt x="2111" y="867"/>
                    </a:lnTo>
                    <a:cubicBezTo>
                      <a:pt x="2332" y="678"/>
                      <a:pt x="2332" y="363"/>
                      <a:pt x="2111" y="142"/>
                    </a:cubicBezTo>
                    <a:cubicBezTo>
                      <a:pt x="2016" y="47"/>
                      <a:pt x="1890" y="0"/>
                      <a:pt x="176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393" name="Google Shape;1527;p38">
                <a:extLst>
                  <a:ext uri="{FF2B5EF4-FFF2-40B4-BE49-F238E27FC236}">
                    <a16:creationId xmlns:a16="http://schemas.microsoft.com/office/drawing/2014/main" id="{D48D457F-9D6B-ED72-042E-BAC3A6B05C3F}"/>
                  </a:ext>
                </a:extLst>
              </p:cNvPr>
              <p:cNvSpPr/>
              <p:nvPr/>
            </p:nvSpPr>
            <p:spPr>
              <a:xfrm>
                <a:off x="-5185475" y="3826250"/>
                <a:ext cx="57525" cy="55750"/>
              </a:xfrm>
              <a:custGeom>
                <a:avLst/>
                <a:gdLst/>
                <a:ahLst/>
                <a:cxnLst/>
                <a:rect l="l" t="t" r="r" b="b"/>
                <a:pathLst>
                  <a:path w="2301" h="2230" extrusionOk="0">
                    <a:moveTo>
                      <a:pt x="1765" y="1"/>
                    </a:moveTo>
                    <a:cubicBezTo>
                      <a:pt x="1639" y="1"/>
                      <a:pt x="1513" y="48"/>
                      <a:pt x="1419" y="143"/>
                    </a:cubicBezTo>
                    <a:lnTo>
                      <a:pt x="190" y="1371"/>
                    </a:lnTo>
                    <a:cubicBezTo>
                      <a:pt x="1" y="1560"/>
                      <a:pt x="1" y="1875"/>
                      <a:pt x="190" y="2064"/>
                    </a:cubicBezTo>
                    <a:cubicBezTo>
                      <a:pt x="284" y="2175"/>
                      <a:pt x="410" y="2230"/>
                      <a:pt x="536" y="2230"/>
                    </a:cubicBezTo>
                    <a:cubicBezTo>
                      <a:pt x="662" y="2230"/>
                      <a:pt x="788" y="2175"/>
                      <a:pt x="883" y="2064"/>
                    </a:cubicBezTo>
                    <a:lnTo>
                      <a:pt x="2112" y="836"/>
                    </a:lnTo>
                    <a:cubicBezTo>
                      <a:pt x="2301" y="647"/>
                      <a:pt x="2301" y="332"/>
                      <a:pt x="2112" y="143"/>
                    </a:cubicBezTo>
                    <a:cubicBezTo>
                      <a:pt x="2017" y="48"/>
                      <a:pt x="1891" y="1"/>
                      <a:pt x="1765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</p:grpSp>
      </p:grpSp>
      <p:grpSp>
        <p:nvGrpSpPr>
          <p:cNvPr id="59399" name="Google Shape;1532;p38">
            <a:extLst>
              <a:ext uri="{FF2B5EF4-FFF2-40B4-BE49-F238E27FC236}">
                <a16:creationId xmlns:a16="http://schemas.microsoft.com/office/drawing/2014/main" id="{2FB3CD52-9220-E0DC-DDD1-BCA84072FD0F}"/>
              </a:ext>
            </a:extLst>
          </p:cNvPr>
          <p:cNvGrpSpPr/>
          <p:nvPr/>
        </p:nvGrpSpPr>
        <p:grpSpPr>
          <a:xfrm>
            <a:off x="10131807" y="1699039"/>
            <a:ext cx="545592" cy="900042"/>
            <a:chOff x="5664646" y="728054"/>
            <a:chExt cx="567756" cy="992622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59400" name="Google Shape;1533;p38">
              <a:extLst>
                <a:ext uri="{FF2B5EF4-FFF2-40B4-BE49-F238E27FC236}">
                  <a16:creationId xmlns:a16="http://schemas.microsoft.com/office/drawing/2014/main" id="{22EC0033-C9FF-1924-88B4-8DD083D2623C}"/>
                </a:ext>
              </a:extLst>
            </p:cNvPr>
            <p:cNvSpPr/>
            <p:nvPr/>
          </p:nvSpPr>
          <p:spPr>
            <a:xfrm>
              <a:off x="5664646" y="728054"/>
              <a:ext cx="567756" cy="992622"/>
            </a:xfrm>
            <a:custGeom>
              <a:avLst/>
              <a:gdLst/>
              <a:ahLst/>
              <a:cxnLst/>
              <a:rect l="l" t="t" r="r" b="b"/>
              <a:pathLst>
                <a:path w="17741" h="31017" extrusionOk="0">
                  <a:moveTo>
                    <a:pt x="17741" y="8835"/>
                  </a:moveTo>
                  <a:cubicBezTo>
                    <a:pt x="17741" y="3977"/>
                    <a:pt x="13729" y="1"/>
                    <a:pt x="8871" y="1"/>
                  </a:cubicBezTo>
                  <a:cubicBezTo>
                    <a:pt x="3977" y="1"/>
                    <a:pt x="1" y="3977"/>
                    <a:pt x="1" y="8835"/>
                  </a:cubicBezTo>
                  <a:cubicBezTo>
                    <a:pt x="1" y="13550"/>
                    <a:pt x="3692" y="17419"/>
                    <a:pt x="8299" y="17693"/>
                  </a:cubicBezTo>
                  <a:lnTo>
                    <a:pt x="8299" y="27647"/>
                  </a:lnTo>
                  <a:cubicBezTo>
                    <a:pt x="7561" y="27873"/>
                    <a:pt x="7121" y="28540"/>
                    <a:pt x="7121" y="29290"/>
                  </a:cubicBezTo>
                  <a:cubicBezTo>
                    <a:pt x="7121" y="30231"/>
                    <a:pt x="7883" y="31016"/>
                    <a:pt x="8847" y="31016"/>
                  </a:cubicBezTo>
                  <a:cubicBezTo>
                    <a:pt x="9776" y="31016"/>
                    <a:pt x="10609" y="30231"/>
                    <a:pt x="10609" y="29290"/>
                  </a:cubicBezTo>
                  <a:cubicBezTo>
                    <a:pt x="10609" y="28528"/>
                    <a:pt x="10085" y="27873"/>
                    <a:pt x="9490" y="27647"/>
                  </a:cubicBezTo>
                  <a:lnTo>
                    <a:pt x="9490" y="17693"/>
                  </a:lnTo>
                  <a:cubicBezTo>
                    <a:pt x="13955" y="17419"/>
                    <a:pt x="17741" y="13550"/>
                    <a:pt x="17741" y="8835"/>
                  </a:cubicBezTo>
                  <a:close/>
                  <a:moveTo>
                    <a:pt x="1989" y="8835"/>
                  </a:moveTo>
                  <a:cubicBezTo>
                    <a:pt x="1989" y="5061"/>
                    <a:pt x="5061" y="2025"/>
                    <a:pt x="8835" y="2025"/>
                  </a:cubicBezTo>
                  <a:cubicBezTo>
                    <a:pt x="12609" y="2025"/>
                    <a:pt x="15681" y="5061"/>
                    <a:pt x="15681" y="8835"/>
                  </a:cubicBezTo>
                  <a:cubicBezTo>
                    <a:pt x="15681" y="12609"/>
                    <a:pt x="12609" y="15681"/>
                    <a:pt x="8835" y="15681"/>
                  </a:cubicBezTo>
                  <a:cubicBezTo>
                    <a:pt x="5061" y="15681"/>
                    <a:pt x="1989" y="12609"/>
                    <a:pt x="1989" y="88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59401" name="Google Shape;1534;p38">
              <a:extLst>
                <a:ext uri="{FF2B5EF4-FFF2-40B4-BE49-F238E27FC236}">
                  <a16:creationId xmlns:a16="http://schemas.microsoft.com/office/drawing/2014/main" id="{B10FF098-582A-5616-B982-3E8CFD6AB163}"/>
                </a:ext>
              </a:extLst>
            </p:cNvPr>
            <p:cNvGrpSpPr/>
            <p:nvPr/>
          </p:nvGrpSpPr>
          <p:grpSpPr>
            <a:xfrm>
              <a:off x="5818475" y="840233"/>
              <a:ext cx="260124" cy="305587"/>
              <a:chOff x="-64022550" y="3727425"/>
              <a:chExt cx="270175" cy="317425"/>
            </a:xfrm>
            <a:grpFill/>
          </p:grpSpPr>
          <p:sp>
            <p:nvSpPr>
              <p:cNvPr id="59402" name="Google Shape;1535;p38">
                <a:extLst>
                  <a:ext uri="{FF2B5EF4-FFF2-40B4-BE49-F238E27FC236}">
                    <a16:creationId xmlns:a16="http://schemas.microsoft.com/office/drawing/2014/main" id="{ABF5114E-DE28-1635-6A3A-2C3A74C8D364}"/>
                  </a:ext>
                </a:extLst>
              </p:cNvPr>
              <p:cNvSpPr/>
              <p:nvPr/>
            </p:nvSpPr>
            <p:spPr>
              <a:xfrm>
                <a:off x="-64022550" y="3912500"/>
                <a:ext cx="270175" cy="90600"/>
              </a:xfrm>
              <a:custGeom>
                <a:avLst/>
                <a:gdLst/>
                <a:ahLst/>
                <a:cxnLst/>
                <a:rect l="l" t="t" r="r" b="b"/>
                <a:pathLst>
                  <a:path w="10807" h="3624" extrusionOk="0">
                    <a:moveTo>
                      <a:pt x="2111" y="1"/>
                    </a:moveTo>
                    <a:cubicBezTo>
                      <a:pt x="945" y="1"/>
                      <a:pt x="0" y="946"/>
                      <a:pt x="0" y="2080"/>
                    </a:cubicBezTo>
                    <a:lnTo>
                      <a:pt x="0" y="3183"/>
                    </a:lnTo>
                    <a:cubicBezTo>
                      <a:pt x="0" y="3435"/>
                      <a:pt x="221" y="3624"/>
                      <a:pt x="441" y="3624"/>
                    </a:cubicBezTo>
                    <a:lnTo>
                      <a:pt x="10365" y="3624"/>
                    </a:lnTo>
                    <a:cubicBezTo>
                      <a:pt x="10618" y="3624"/>
                      <a:pt x="10807" y="3435"/>
                      <a:pt x="10807" y="3183"/>
                    </a:cubicBezTo>
                    <a:lnTo>
                      <a:pt x="10807" y="2080"/>
                    </a:lnTo>
                    <a:cubicBezTo>
                      <a:pt x="10807" y="946"/>
                      <a:pt x="9861" y="1"/>
                      <a:pt x="872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403" name="Google Shape;1536;p38">
                <a:extLst>
                  <a:ext uri="{FF2B5EF4-FFF2-40B4-BE49-F238E27FC236}">
                    <a16:creationId xmlns:a16="http://schemas.microsoft.com/office/drawing/2014/main" id="{FA55FFC6-7EAF-7EFF-C610-724929D103A3}"/>
                  </a:ext>
                </a:extLst>
              </p:cNvPr>
              <p:cNvSpPr/>
              <p:nvPr/>
            </p:nvSpPr>
            <p:spPr>
              <a:xfrm>
                <a:off x="-64000500" y="4023550"/>
                <a:ext cx="227650" cy="21300"/>
              </a:xfrm>
              <a:custGeom>
                <a:avLst/>
                <a:gdLst/>
                <a:ahLst/>
                <a:cxnLst/>
                <a:rect l="l" t="t" r="r" b="b"/>
                <a:pathLst>
                  <a:path w="9106" h="852" extrusionOk="0">
                    <a:moveTo>
                      <a:pt x="0" y="1"/>
                    </a:moveTo>
                    <a:lnTo>
                      <a:pt x="0" y="442"/>
                    </a:lnTo>
                    <a:cubicBezTo>
                      <a:pt x="0" y="694"/>
                      <a:pt x="190" y="851"/>
                      <a:pt x="442" y="851"/>
                    </a:cubicBezTo>
                    <a:lnTo>
                      <a:pt x="8696" y="851"/>
                    </a:lnTo>
                    <a:cubicBezTo>
                      <a:pt x="8948" y="851"/>
                      <a:pt x="9105" y="631"/>
                      <a:pt x="9105" y="442"/>
                    </a:cubicBezTo>
                    <a:lnTo>
                      <a:pt x="9105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404" name="Google Shape;1537;p38">
                <a:extLst>
                  <a:ext uri="{FF2B5EF4-FFF2-40B4-BE49-F238E27FC236}">
                    <a16:creationId xmlns:a16="http://schemas.microsoft.com/office/drawing/2014/main" id="{0AC17632-62C3-42BF-CACD-557E5EBD5A19}"/>
                  </a:ext>
                </a:extLst>
              </p:cNvPr>
              <p:cNvSpPr/>
              <p:nvPr/>
            </p:nvSpPr>
            <p:spPr>
              <a:xfrm>
                <a:off x="-63960325" y="3727425"/>
                <a:ext cx="144925" cy="165425"/>
              </a:xfrm>
              <a:custGeom>
                <a:avLst/>
                <a:gdLst/>
                <a:ahLst/>
                <a:cxnLst/>
                <a:rect l="l" t="t" r="r" b="b"/>
                <a:pathLst>
                  <a:path w="5797" h="6617" extrusionOk="0">
                    <a:moveTo>
                      <a:pt x="2930" y="0"/>
                    </a:moveTo>
                    <a:cubicBezTo>
                      <a:pt x="1292" y="0"/>
                      <a:pt x="0" y="1292"/>
                      <a:pt x="0" y="2867"/>
                    </a:cubicBezTo>
                    <a:cubicBezTo>
                      <a:pt x="32" y="3812"/>
                      <a:pt x="504" y="4694"/>
                      <a:pt x="1260" y="5230"/>
                    </a:cubicBezTo>
                    <a:lnTo>
                      <a:pt x="1260" y="6616"/>
                    </a:lnTo>
                    <a:lnTo>
                      <a:pt x="4568" y="6616"/>
                    </a:lnTo>
                    <a:lnTo>
                      <a:pt x="4568" y="5230"/>
                    </a:lnTo>
                    <a:cubicBezTo>
                      <a:pt x="5356" y="4694"/>
                      <a:pt x="5797" y="3812"/>
                      <a:pt x="5797" y="2867"/>
                    </a:cubicBezTo>
                    <a:cubicBezTo>
                      <a:pt x="5797" y="1260"/>
                      <a:pt x="4505" y="0"/>
                      <a:pt x="293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9406" name="Google Shape;1539;p38">
            <a:extLst>
              <a:ext uri="{FF2B5EF4-FFF2-40B4-BE49-F238E27FC236}">
                <a16:creationId xmlns:a16="http://schemas.microsoft.com/office/drawing/2014/main" id="{21370BED-C3E6-5C70-391D-B1DD0D68F6A1}"/>
              </a:ext>
            </a:extLst>
          </p:cNvPr>
          <p:cNvSpPr/>
          <p:nvPr/>
        </p:nvSpPr>
        <p:spPr>
          <a:xfrm>
            <a:off x="8085932" y="2723835"/>
            <a:ext cx="668756" cy="1169019"/>
          </a:xfrm>
          <a:custGeom>
            <a:avLst/>
            <a:gdLst/>
            <a:ahLst/>
            <a:cxnLst/>
            <a:rect l="l" t="t" r="r" b="b"/>
            <a:pathLst>
              <a:path w="20897" h="36529" extrusionOk="0">
                <a:moveTo>
                  <a:pt x="20896" y="10407"/>
                </a:moveTo>
                <a:cubicBezTo>
                  <a:pt x="20896" y="4680"/>
                  <a:pt x="16217" y="0"/>
                  <a:pt x="10490" y="0"/>
                </a:cubicBezTo>
                <a:cubicBezTo>
                  <a:pt x="4740" y="0"/>
                  <a:pt x="1" y="4680"/>
                  <a:pt x="1" y="10407"/>
                </a:cubicBezTo>
                <a:cubicBezTo>
                  <a:pt x="1" y="15967"/>
                  <a:pt x="4228" y="20515"/>
                  <a:pt x="9728" y="20836"/>
                </a:cubicBezTo>
                <a:lnTo>
                  <a:pt x="9728" y="32564"/>
                </a:lnTo>
                <a:cubicBezTo>
                  <a:pt x="8835" y="32838"/>
                  <a:pt x="8407" y="33600"/>
                  <a:pt x="8407" y="34493"/>
                </a:cubicBezTo>
                <a:cubicBezTo>
                  <a:pt x="8407" y="35600"/>
                  <a:pt x="9347" y="36529"/>
                  <a:pt x="10478" y="36529"/>
                </a:cubicBezTo>
                <a:cubicBezTo>
                  <a:pt x="11586" y="36529"/>
                  <a:pt x="12479" y="35600"/>
                  <a:pt x="12479" y="34493"/>
                </a:cubicBezTo>
                <a:cubicBezTo>
                  <a:pt x="12479" y="33600"/>
                  <a:pt x="11812" y="32826"/>
                  <a:pt x="11074" y="32564"/>
                </a:cubicBezTo>
                <a:lnTo>
                  <a:pt x="11074" y="20836"/>
                </a:lnTo>
                <a:cubicBezTo>
                  <a:pt x="16432" y="20515"/>
                  <a:pt x="20896" y="15967"/>
                  <a:pt x="20896" y="10407"/>
                </a:cubicBezTo>
                <a:close/>
                <a:moveTo>
                  <a:pt x="2454" y="10407"/>
                </a:moveTo>
                <a:cubicBezTo>
                  <a:pt x="2454" y="5965"/>
                  <a:pt x="6061" y="2382"/>
                  <a:pt x="10502" y="2382"/>
                </a:cubicBezTo>
                <a:cubicBezTo>
                  <a:pt x="14955" y="2382"/>
                  <a:pt x="18563" y="5965"/>
                  <a:pt x="18563" y="10407"/>
                </a:cubicBezTo>
                <a:cubicBezTo>
                  <a:pt x="18563" y="14859"/>
                  <a:pt x="14955" y="18467"/>
                  <a:pt x="10502" y="18467"/>
                </a:cubicBezTo>
                <a:cubicBezTo>
                  <a:pt x="6061" y="18467"/>
                  <a:pt x="2454" y="14859"/>
                  <a:pt x="2454" y="10407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411" name="TextBox 59410">
            <a:extLst>
              <a:ext uri="{FF2B5EF4-FFF2-40B4-BE49-F238E27FC236}">
                <a16:creationId xmlns:a16="http://schemas.microsoft.com/office/drawing/2014/main" id="{0DFC6AF2-DB99-007D-F04B-AEECECDBE3C7}"/>
              </a:ext>
            </a:extLst>
          </p:cNvPr>
          <p:cNvSpPr txBox="1"/>
          <p:nvPr/>
        </p:nvSpPr>
        <p:spPr>
          <a:xfrm>
            <a:off x="10379247" y="3403594"/>
            <a:ext cx="1672980" cy="1169551"/>
          </a:xfrm>
          <a:prstGeom prst="rect">
            <a:avLst/>
          </a:prstGeom>
          <a:noFill/>
          <a:ln w="28575">
            <a:solidFill>
              <a:schemeClr val="tx2">
                <a:lumMod val="75000"/>
              </a:schemeClr>
            </a:solidFill>
            <a:prstDash val="sysDot"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algn="r"/>
            <a:r>
              <a:rPr lang="en-IN"/>
              <a:t>Different SKUs(180 ml, 375ml) to try and reach more audiences</a:t>
            </a:r>
          </a:p>
        </p:txBody>
      </p:sp>
      <p:sp>
        <p:nvSpPr>
          <p:cNvPr id="59413" name="TextBox 59412">
            <a:extLst>
              <a:ext uri="{FF2B5EF4-FFF2-40B4-BE49-F238E27FC236}">
                <a16:creationId xmlns:a16="http://schemas.microsoft.com/office/drawing/2014/main" id="{915E4796-FF61-675A-0631-FFDAFE72EDFA}"/>
              </a:ext>
            </a:extLst>
          </p:cNvPr>
          <p:cNvSpPr txBox="1"/>
          <p:nvPr/>
        </p:nvSpPr>
        <p:spPr>
          <a:xfrm>
            <a:off x="5937357" y="2889474"/>
            <a:ext cx="2081958" cy="954107"/>
          </a:xfrm>
          <a:prstGeom prst="rect">
            <a:avLst/>
          </a:prstGeom>
          <a:noFill/>
          <a:ln w="28575">
            <a:solidFill>
              <a:schemeClr val="tx2">
                <a:lumMod val="75000"/>
              </a:schemeClr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chemeClr val="bg2">
                    <a:lumMod val="25000"/>
                  </a:schemeClr>
                </a:solidFill>
              </a:rPr>
              <a:t>Expanding our sourcing   from NE to West Bengal, Odisha and Jharkhand and </a:t>
            </a:r>
            <a:r>
              <a:rPr lang="en-IN" sz="1400" err="1">
                <a:solidFill>
                  <a:schemeClr val="bg2">
                    <a:lumMod val="25000"/>
                  </a:schemeClr>
                </a:solidFill>
              </a:rPr>
              <a:t>furthrer</a:t>
            </a:r>
            <a:endParaRPr lang="en-IN" sz="140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9415" name="TextBox 59414">
            <a:extLst>
              <a:ext uri="{FF2B5EF4-FFF2-40B4-BE49-F238E27FC236}">
                <a16:creationId xmlns:a16="http://schemas.microsoft.com/office/drawing/2014/main" id="{9226079C-A878-1929-4229-93EFFF74101B}"/>
              </a:ext>
            </a:extLst>
          </p:cNvPr>
          <p:cNvSpPr txBox="1"/>
          <p:nvPr/>
        </p:nvSpPr>
        <p:spPr>
          <a:xfrm>
            <a:off x="5936174" y="4129312"/>
            <a:ext cx="2068478" cy="738664"/>
          </a:xfrm>
          <a:prstGeom prst="rect">
            <a:avLst/>
          </a:prstGeom>
          <a:noFill/>
          <a:ln w="28575">
            <a:solidFill>
              <a:schemeClr val="tx2">
                <a:lumMod val="75000"/>
              </a:schemeClr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chemeClr val="bg2">
                    <a:lumMod val="25000"/>
                  </a:schemeClr>
                </a:solidFill>
              </a:rPr>
              <a:t>New state-specific flavours like Kokum, Coffee, Mango, Tea </a:t>
            </a:r>
          </a:p>
        </p:txBody>
      </p:sp>
      <p:sp>
        <p:nvSpPr>
          <p:cNvPr id="59416" name="TextBox 59415">
            <a:extLst>
              <a:ext uri="{FF2B5EF4-FFF2-40B4-BE49-F238E27FC236}">
                <a16:creationId xmlns:a16="http://schemas.microsoft.com/office/drawing/2014/main" id="{3F6B7423-0BF5-0565-918C-9EC021D1101C}"/>
              </a:ext>
            </a:extLst>
          </p:cNvPr>
          <p:cNvSpPr txBox="1"/>
          <p:nvPr/>
        </p:nvSpPr>
        <p:spPr>
          <a:xfrm>
            <a:off x="5962153" y="1797193"/>
            <a:ext cx="2049187" cy="954107"/>
          </a:xfrm>
          <a:prstGeom prst="rect">
            <a:avLst/>
          </a:prstGeom>
          <a:noFill/>
          <a:ln w="28575">
            <a:solidFill>
              <a:schemeClr val="tx2">
                <a:lumMod val="75000"/>
              </a:schemeClr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chemeClr val="bg2">
                    <a:lumMod val="25000"/>
                  </a:schemeClr>
                </a:solidFill>
              </a:rPr>
              <a:t>Create a </a:t>
            </a:r>
            <a:r>
              <a:rPr lang="en-IN" sz="1400" i="1">
                <a:solidFill>
                  <a:schemeClr val="accent6">
                    <a:lumMod val="40000"/>
                    <a:lumOff val="60000"/>
                  </a:schemeClr>
                </a:solidFill>
              </a:rPr>
              <a:t>non-alcoholic brand </a:t>
            </a:r>
            <a:r>
              <a:rPr lang="en-IN" sz="1400">
                <a:solidFill>
                  <a:schemeClr val="bg2">
                    <a:lumMod val="25000"/>
                  </a:schemeClr>
                </a:solidFill>
              </a:rPr>
              <a:t>in partnership with athletes like Mary </a:t>
            </a:r>
            <a:r>
              <a:rPr lang="en-IN" sz="1400" err="1">
                <a:solidFill>
                  <a:schemeClr val="bg2">
                    <a:lumMod val="25000"/>
                  </a:schemeClr>
                </a:solidFill>
              </a:rPr>
              <a:t>Kom</a:t>
            </a:r>
            <a:endParaRPr lang="en-IN" sz="140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9417" name="TextBox 59416">
            <a:extLst>
              <a:ext uri="{FF2B5EF4-FFF2-40B4-BE49-F238E27FC236}">
                <a16:creationId xmlns:a16="http://schemas.microsoft.com/office/drawing/2014/main" id="{F63BD3E5-731C-2B27-9B52-B1041EE2A78C}"/>
              </a:ext>
            </a:extLst>
          </p:cNvPr>
          <p:cNvSpPr txBox="1"/>
          <p:nvPr/>
        </p:nvSpPr>
        <p:spPr>
          <a:xfrm>
            <a:off x="8069858" y="1489359"/>
            <a:ext cx="2118811" cy="523220"/>
          </a:xfrm>
          <a:prstGeom prst="rect">
            <a:avLst/>
          </a:prstGeom>
          <a:noFill/>
          <a:ln w="28575">
            <a:solidFill>
              <a:schemeClr val="tx2">
                <a:lumMod val="75000"/>
              </a:schemeClr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en-IN" sz="1400">
                <a:solidFill>
                  <a:schemeClr val="bg2">
                    <a:lumMod val="25000"/>
                  </a:schemeClr>
                </a:solidFill>
              </a:rPr>
              <a:t>Meet the Net Zero Targets for </a:t>
            </a:r>
            <a:r>
              <a:rPr lang="en-IN" sz="1400" err="1">
                <a:solidFill>
                  <a:schemeClr val="bg2">
                    <a:lumMod val="25000"/>
                  </a:schemeClr>
                </a:solidFill>
              </a:rPr>
              <a:t>ABInBev</a:t>
            </a:r>
            <a:endParaRPr lang="en-IN" sz="140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59419" name="Picture 59418">
            <a:extLst>
              <a:ext uri="{FF2B5EF4-FFF2-40B4-BE49-F238E27FC236}">
                <a16:creationId xmlns:a16="http://schemas.microsoft.com/office/drawing/2014/main" id="{2941F7B9-26DF-0055-36B1-5EE4E748BDB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58068" y="5054524"/>
            <a:ext cx="614493" cy="499264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7089CB2-8FAD-5364-6030-D024DF44A54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296450" y="4182780"/>
            <a:ext cx="523516" cy="552371"/>
          </a:xfrm>
          <a:prstGeom prst="ellipse">
            <a:avLst/>
          </a:prstGeom>
        </p:spPr>
      </p:pic>
      <p:sp>
        <p:nvSpPr>
          <p:cNvPr id="59422" name="Oval 59421">
            <a:extLst>
              <a:ext uri="{FF2B5EF4-FFF2-40B4-BE49-F238E27FC236}">
                <a16:creationId xmlns:a16="http://schemas.microsoft.com/office/drawing/2014/main" id="{95A0371F-9453-8225-5080-8783AC5D948B}"/>
              </a:ext>
            </a:extLst>
          </p:cNvPr>
          <p:cNvSpPr/>
          <p:nvPr/>
        </p:nvSpPr>
        <p:spPr>
          <a:xfrm>
            <a:off x="5773503" y="3921056"/>
            <a:ext cx="338558" cy="370504"/>
          </a:xfrm>
          <a:prstGeom prst="ellipse">
            <a:avLst/>
          </a:prstGeom>
          <a:solidFill>
            <a:srgbClr val="01010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14173E-A09E-C28B-4CE4-07AE50746BC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42676" y="2827760"/>
            <a:ext cx="512004" cy="467884"/>
          </a:xfrm>
          <a:prstGeom prst="ellipse">
            <a:avLst/>
          </a:prstGeom>
        </p:spPr>
      </p:pic>
      <p:sp>
        <p:nvSpPr>
          <p:cNvPr id="59424" name="Oval 59423">
            <a:extLst>
              <a:ext uri="{FF2B5EF4-FFF2-40B4-BE49-F238E27FC236}">
                <a16:creationId xmlns:a16="http://schemas.microsoft.com/office/drawing/2014/main" id="{5FC8D2A9-BAF9-FE60-D0A4-3930DB1B7AE0}"/>
              </a:ext>
            </a:extLst>
          </p:cNvPr>
          <p:cNvSpPr/>
          <p:nvPr/>
        </p:nvSpPr>
        <p:spPr>
          <a:xfrm>
            <a:off x="5773503" y="2614097"/>
            <a:ext cx="338558" cy="370504"/>
          </a:xfrm>
          <a:prstGeom prst="ellipse">
            <a:avLst/>
          </a:prstGeom>
          <a:solidFill>
            <a:srgbClr val="01010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2</a:t>
            </a:r>
          </a:p>
        </p:txBody>
      </p:sp>
      <p:sp>
        <p:nvSpPr>
          <p:cNvPr id="59425" name="Oval 59424">
            <a:extLst>
              <a:ext uri="{FF2B5EF4-FFF2-40B4-BE49-F238E27FC236}">
                <a16:creationId xmlns:a16="http://schemas.microsoft.com/office/drawing/2014/main" id="{85A99D4D-D77C-8105-C9E7-015AA65FC0C0}"/>
              </a:ext>
            </a:extLst>
          </p:cNvPr>
          <p:cNvSpPr/>
          <p:nvPr/>
        </p:nvSpPr>
        <p:spPr>
          <a:xfrm>
            <a:off x="5773503" y="1522845"/>
            <a:ext cx="338558" cy="370504"/>
          </a:xfrm>
          <a:prstGeom prst="ellipse">
            <a:avLst/>
          </a:prstGeom>
          <a:solidFill>
            <a:srgbClr val="01010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4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38775C6-AD84-9972-7BA7-B82F7FCEE8B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06633" y="4598201"/>
            <a:ext cx="521336" cy="481134"/>
          </a:xfrm>
          <a:prstGeom prst="ellipse">
            <a:avLst/>
          </a:prstGeom>
        </p:spPr>
      </p:pic>
      <p:sp>
        <p:nvSpPr>
          <p:cNvPr id="59426" name="Oval 59425">
            <a:extLst>
              <a:ext uri="{FF2B5EF4-FFF2-40B4-BE49-F238E27FC236}">
                <a16:creationId xmlns:a16="http://schemas.microsoft.com/office/drawing/2014/main" id="{B952D2D1-517A-9446-5012-B0394104C5B8}"/>
              </a:ext>
            </a:extLst>
          </p:cNvPr>
          <p:cNvSpPr/>
          <p:nvPr/>
        </p:nvSpPr>
        <p:spPr>
          <a:xfrm>
            <a:off x="10306634" y="3273772"/>
            <a:ext cx="338558" cy="370504"/>
          </a:xfrm>
          <a:prstGeom prst="ellipse">
            <a:avLst/>
          </a:prstGeom>
          <a:solidFill>
            <a:srgbClr val="01010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0B37853-FCEA-3C91-8052-6622527FC7D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195340" y="1769492"/>
            <a:ext cx="423541" cy="373885"/>
          </a:xfrm>
          <a:prstGeom prst="ellipse">
            <a:avLst/>
          </a:prstGeom>
        </p:spPr>
      </p:pic>
      <p:sp>
        <p:nvSpPr>
          <p:cNvPr id="59427" name="Oval 59426">
            <a:extLst>
              <a:ext uri="{FF2B5EF4-FFF2-40B4-BE49-F238E27FC236}">
                <a16:creationId xmlns:a16="http://schemas.microsoft.com/office/drawing/2014/main" id="{1BDFD067-218E-0006-E0C9-08CDB5190159}"/>
              </a:ext>
            </a:extLst>
          </p:cNvPr>
          <p:cNvSpPr/>
          <p:nvPr/>
        </p:nvSpPr>
        <p:spPr>
          <a:xfrm>
            <a:off x="7907908" y="1209229"/>
            <a:ext cx="338558" cy="370504"/>
          </a:xfrm>
          <a:prstGeom prst="ellipse">
            <a:avLst/>
          </a:prstGeom>
          <a:solidFill>
            <a:srgbClr val="01010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/>
              <a:t>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6586AA-6F28-39D4-34B2-6A46171CB577}"/>
              </a:ext>
            </a:extLst>
          </p:cNvPr>
          <p:cNvSpPr txBox="1"/>
          <p:nvPr/>
        </p:nvSpPr>
        <p:spPr>
          <a:xfrm>
            <a:off x="9101573" y="6384187"/>
            <a:ext cx="3012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i="1"/>
              <a:t>The journey continues…</a:t>
            </a:r>
          </a:p>
        </p:txBody>
      </p:sp>
    </p:spTree>
    <p:extLst>
      <p:ext uri="{BB962C8B-B14F-4D97-AF65-F5344CB8AC3E}">
        <p14:creationId xmlns:p14="http://schemas.microsoft.com/office/powerpoint/2010/main" val="576441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36592e303e5e2802de2ff300e969a0c [Read-Only]" id="{0C0C359A-4F3B-4962-9A5E-1430C09BC280}" vid="{77F737C7-B040-445C-BCB4-06DC4B53F3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F5B0D912215A4EBF5684AC0A5549A0" ma:contentTypeVersion="8" ma:contentTypeDescription="Create a new document." ma:contentTypeScope="" ma:versionID="69f9ae21fd1300ba35d01593ec6a9c04">
  <xsd:schema xmlns:xsd="http://www.w3.org/2001/XMLSchema" xmlns:xs="http://www.w3.org/2001/XMLSchema" xmlns:p="http://schemas.microsoft.com/office/2006/metadata/properties" xmlns:ns2="d435262a-6827-4f46-b423-5b1051f236b7" targetNamespace="http://schemas.microsoft.com/office/2006/metadata/properties" ma:root="true" ma:fieldsID="1fe125659df53670ad43dfbbde503233" ns2:_="">
    <xsd:import namespace="d435262a-6827-4f46-b423-5b1051f236b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LengthInSecond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35262a-6827-4f46-b423-5b1051f236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0DDCB9-CA82-4FA5-BDCA-D19AEB3FBB87}">
  <ds:schemaRefs>
    <ds:schemaRef ds:uri="d435262a-6827-4f46-b423-5b1051f236b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54A13EA-FFC4-4338-B9B9-BA319D5CAE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888AD1-B693-4F4D-9BBA-442CE1A592B7}">
  <ds:schemaRefs>
    <ds:schemaRef ds:uri="d435262a-6827-4f46-b423-5b1051f236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</TotalTime>
  <Words>2001</Words>
  <Application>Microsoft Office PowerPoint</Application>
  <PresentationFormat>Widescreen</PresentationFormat>
  <Paragraphs>354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Microsoft GothicNeo</vt:lpstr>
      <vt:lpstr>Arial</vt:lpstr>
      <vt:lpstr>Baguet Script</vt:lpstr>
      <vt:lpstr>Calibri</vt:lpstr>
      <vt:lpstr>Comfortaa Medium</vt:lpstr>
      <vt:lpstr>Copperplate Gothic Light</vt:lpstr>
      <vt:lpstr>Söhne</vt:lpstr>
      <vt:lpstr>System Font Regular</vt:lpstr>
      <vt:lpstr>Times New Roman</vt:lpstr>
      <vt:lpstr>Wingdings</vt:lpstr>
      <vt:lpstr>Anheuser-Busch Custom Template</vt:lpstr>
      <vt:lpstr>think-cell Slide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ya Balwada</dc:creator>
  <cp:lastModifiedBy>Debosree</cp:lastModifiedBy>
  <cp:revision>2</cp:revision>
  <dcterms:created xsi:type="dcterms:W3CDTF">2023-08-04T16:03:13Z</dcterms:created>
  <dcterms:modified xsi:type="dcterms:W3CDTF">2023-08-17T20:2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F5B0D912215A4EBF5684AC0A5549A0</vt:lpwstr>
  </property>
  <property fmtid="{D5CDD505-2E9C-101B-9397-08002B2CF9AE}" pid="3" name="TitusGUID">
    <vt:lpwstr>8f2bd530-7fdc-445c-84d3-38c89bfc175d</vt:lpwstr>
  </property>
  <property fmtid="{D5CDD505-2E9C-101B-9397-08002B2CF9AE}" pid="4" name="ABClassification">
    <vt:lpwstr>InternalUseOnly</vt:lpwstr>
  </property>
</Properties>
</file>